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08" r:id="rId5"/>
    <p:sldMasterId id="2147484218" r:id="rId6"/>
  </p:sldMasterIdLst>
  <p:notesMasterIdLst>
    <p:notesMasterId r:id="rId17"/>
  </p:notesMasterIdLst>
  <p:handoutMasterIdLst>
    <p:handoutMasterId r:id="rId18"/>
  </p:handoutMasterIdLst>
  <p:sldIdLst>
    <p:sldId id="346" r:id="rId7"/>
    <p:sldId id="437" r:id="rId8"/>
    <p:sldId id="418" r:id="rId9"/>
    <p:sldId id="436" r:id="rId10"/>
    <p:sldId id="438" r:id="rId11"/>
    <p:sldId id="439" r:id="rId12"/>
    <p:sldId id="440" r:id="rId13"/>
    <p:sldId id="441" r:id="rId14"/>
    <p:sldId id="443" r:id="rId15"/>
    <p:sldId id="435" r:id="rId16"/>
  </p:sldIdLst>
  <p:sldSz cx="9906000" cy="6858000" type="A4"/>
  <p:notesSz cx="6797675" cy="9856788"/>
  <p:custDataLst>
    <p:tags r:id="rId19"/>
  </p:custDataLst>
  <p:defaultTextStyle>
    <a:defPPr>
      <a:defRPr lang="en-US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4158">
          <p15:clr>
            <a:srgbClr val="A4A3A4"/>
          </p15:clr>
        </p15:guide>
        <p15:guide id="2" orient="horz" pos="4001">
          <p15:clr>
            <a:srgbClr val="A4A3A4"/>
          </p15:clr>
        </p15:guide>
        <p15:guide id="3" orient="horz" pos="978">
          <p15:clr>
            <a:srgbClr val="A4A3A4"/>
          </p15:clr>
        </p15:guide>
        <p15:guide id="4" orient="horz" pos="513">
          <p15:clr>
            <a:srgbClr val="A4A3A4"/>
          </p15:clr>
        </p15:guide>
        <p15:guide id="5" pos="3119">
          <p15:clr>
            <a:srgbClr val="A4A3A4"/>
          </p15:clr>
        </p15:guide>
        <p15:guide id="6" pos="6020">
          <p15:clr>
            <a:srgbClr val="A4A3A4"/>
          </p15:clr>
        </p15:guide>
        <p15:guide id="7" pos="2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62E94"/>
    <a:srgbClr val="FFFFFF"/>
    <a:srgbClr val="182F91"/>
    <a:srgbClr val="10226E"/>
    <a:srgbClr val="000000"/>
    <a:srgbClr val="2D4196"/>
    <a:srgbClr val="008B38"/>
    <a:srgbClr val="00AADD"/>
    <a:srgbClr val="85BD59"/>
    <a:srgbClr val="81BB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932" autoAdjust="0"/>
    <p:restoredTop sz="99883" autoAdjust="0"/>
  </p:normalViewPr>
  <p:slideViewPr>
    <p:cSldViewPr snapToGrid="0">
      <p:cViewPr varScale="1">
        <p:scale>
          <a:sx n="74" d="100"/>
          <a:sy n="74" d="100"/>
        </p:scale>
        <p:origin x="1278" y="72"/>
      </p:cViewPr>
      <p:guideLst>
        <p:guide orient="horz" pos="4158"/>
        <p:guide orient="horz" pos="4001"/>
        <p:guide orient="horz" pos="978"/>
        <p:guide orient="horz" pos="513"/>
        <p:guide pos="3119"/>
        <p:guide pos="6020"/>
        <p:guide pos="23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3960" y="-108"/>
      </p:cViewPr>
      <p:guideLst>
        <p:guide orient="horz" pos="3104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ycle3" loCatId="cycle" qsTypeId="urn:microsoft.com/office/officeart/2005/8/quickstyle/simple5" qsCatId="simple" csTypeId="urn:microsoft.com/office/officeart/2005/8/colors/accent1_3" csCatId="accent1" phldr="1"/>
      <dgm:spPr/>
    </dgm:pt>
    <dgm:pt modelId="{BEB8BDB3-8604-4AB5-B0D5-1326CC53DF96}">
      <dgm:prSet phldrT="[Tekst]"/>
      <dgm:spPr/>
      <dgm:t>
        <a:bodyPr/>
        <a:lstStyle/>
        <a:p>
          <a:r>
            <a:rPr lang="pl-PL" dirty="0" smtClean="0"/>
            <a:t>Zrozumienie potrzeb biznesowych</a:t>
          </a:r>
          <a:endParaRPr lang="pl-PL" dirty="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/>
        </a:p>
      </dgm:t>
    </dgm:pt>
    <dgm:pt modelId="{755F826A-8A3B-462F-8413-36BC2F128EB4}">
      <dgm:prSet phldrT="[Tekst]"/>
      <dgm:spPr/>
      <dgm:t>
        <a:bodyPr/>
        <a:lstStyle/>
        <a:p>
          <a:r>
            <a:rPr lang="pl-PL" dirty="0" smtClean="0"/>
            <a:t>Działanie biznesowe</a:t>
          </a:r>
          <a:endParaRPr lang="pl-PL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/>
        </a:p>
      </dgm:t>
    </dgm:pt>
    <dgm:pt modelId="{D5926DE3-CA64-4936-927F-C77C396C0AB8}">
      <dgm:prSet phldrT="[Tekst]"/>
      <dgm:spPr/>
      <dgm:t>
        <a:bodyPr/>
        <a:lstStyle/>
        <a:p>
          <a:r>
            <a:rPr lang="pl-PL" dirty="0" smtClean="0"/>
            <a:t>Raportowanie i wnioski</a:t>
          </a:r>
          <a:endParaRPr lang="pl-PL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/>
        </a:p>
      </dgm:t>
    </dgm:pt>
    <dgm:pt modelId="{FEBF8EDB-DF58-43BF-8133-823A0B48C78F}">
      <dgm:prSet phldrT="[Tekst]"/>
      <dgm:spPr/>
      <dgm:t>
        <a:bodyPr/>
        <a:lstStyle/>
        <a:p>
          <a:r>
            <a:rPr lang="pl-PL" dirty="0" smtClean="0"/>
            <a:t>Przygotowanie zmiennych do modelowania</a:t>
          </a:r>
          <a:endParaRPr lang="pl-PL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/>
        </a:p>
      </dgm:t>
    </dgm:pt>
    <dgm:pt modelId="{2A06912D-EACB-432E-8435-3A7ADE9C14CB}">
      <dgm:prSet phldrT="[Tekst]"/>
      <dgm:spPr/>
      <dgm:t>
        <a:bodyPr/>
        <a:lstStyle/>
        <a:p>
          <a:r>
            <a:rPr lang="pl-PL" dirty="0" smtClean="0"/>
            <a:t>Budowa modelu statystycznego</a:t>
          </a:r>
          <a:endParaRPr lang="pl-PL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/>
        </a:p>
      </dgm:t>
    </dgm:pt>
    <dgm:pt modelId="{5681C8E7-1C53-4F8C-BD61-929B4FCE3DB6}" type="pres">
      <dgm:prSet presAssocID="{786AA0C9-E78F-4CDF-B61D-9FB32CA171F2}" presName="Name0" presStyleCnt="0">
        <dgm:presLayoutVars>
          <dgm:dir/>
          <dgm:resizeHandles val="exact"/>
        </dgm:presLayoutVars>
      </dgm:prSet>
      <dgm:spPr/>
    </dgm:pt>
    <dgm:pt modelId="{BCFF012D-7819-451C-9146-99E5959A6920}" type="pres">
      <dgm:prSet presAssocID="{786AA0C9-E78F-4CDF-B61D-9FB32CA171F2}" presName="cycle" presStyleCnt="0"/>
      <dgm:spPr/>
    </dgm:pt>
    <dgm:pt modelId="{F7B5D609-FB4B-4F9C-BB98-A8BD852C3D17}" type="pres">
      <dgm:prSet presAssocID="{BEB8BDB3-8604-4AB5-B0D5-1326CC53DF96}" presName="nodeFirst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B039709-2BD6-4E08-84F4-DE9F5CB085DD}" type="pres">
      <dgm:prSet presAssocID="{FB8CD10D-7C22-453F-93FD-A4E42302ED2D}" presName="sibTransFirstNode" presStyleLbl="bgShp" presStyleIdx="0" presStyleCnt="1"/>
      <dgm:spPr/>
      <dgm:t>
        <a:bodyPr/>
        <a:lstStyle/>
        <a:p>
          <a:endParaRPr lang="pl-PL"/>
        </a:p>
      </dgm:t>
    </dgm:pt>
    <dgm:pt modelId="{C55F4386-0388-4476-9751-1507A7F74A01}" type="pres">
      <dgm:prSet presAssocID="{FEBF8EDB-DF58-43BF-8133-823A0B48C78F}" presName="nodeFollowingNodes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F8BEB87-0CC9-444D-8644-3E63EE061522}" type="pres">
      <dgm:prSet presAssocID="{2A06912D-EACB-432E-8435-3A7ADE9C14CB}" presName="nodeFollowingNodes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2A944DE6-6330-43A0-B315-2CDA49196EF8}" type="pres">
      <dgm:prSet presAssocID="{755F826A-8A3B-462F-8413-36BC2F128EB4}" presName="nodeFollowingNodes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4E2D8DD-FFC3-4FE4-BC4C-41E90BA4A128}" type="pres">
      <dgm:prSet presAssocID="{D5926DE3-CA64-4936-927F-C77C396C0AB8}" presName="nodeFollowingNodes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D542E3A2-7F91-4175-8764-797015A368A6}" type="presOf" srcId="{BEB8BDB3-8604-4AB5-B0D5-1326CC53DF96}" destId="{F7B5D609-FB4B-4F9C-BB98-A8BD852C3D17}" srcOrd="0" destOrd="0" presId="urn:microsoft.com/office/officeart/2005/8/layout/cycle3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20F68D6A-0191-4826-BC8F-4DC05E408442}" type="presOf" srcId="{755F826A-8A3B-462F-8413-36BC2F128EB4}" destId="{2A944DE6-6330-43A0-B315-2CDA49196EF8}" srcOrd="0" destOrd="0" presId="urn:microsoft.com/office/officeart/2005/8/layout/cycle3"/>
    <dgm:cxn modelId="{4977D64B-F612-44D3-A5F2-4829511CE19B}" type="presOf" srcId="{786AA0C9-E78F-4CDF-B61D-9FB32CA171F2}" destId="{5681C8E7-1C53-4F8C-BD61-929B4FCE3DB6}" srcOrd="0" destOrd="0" presId="urn:microsoft.com/office/officeart/2005/8/layout/cycle3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B0F04CA0-D1B2-4E67-A22A-3883854FD459}" type="presOf" srcId="{D5926DE3-CA64-4936-927F-C77C396C0AB8}" destId="{A4E2D8DD-FFC3-4FE4-BC4C-41E90BA4A128}" srcOrd="0" destOrd="0" presId="urn:microsoft.com/office/officeart/2005/8/layout/cycle3"/>
    <dgm:cxn modelId="{D54514E5-9F03-4320-99F5-C44652C2F175}" type="presOf" srcId="{FB8CD10D-7C22-453F-93FD-A4E42302ED2D}" destId="{3B039709-2BD6-4E08-84F4-DE9F5CB085DD}" srcOrd="0" destOrd="0" presId="urn:microsoft.com/office/officeart/2005/8/layout/cycle3"/>
    <dgm:cxn modelId="{9D004F3F-43C4-4989-93DE-9CA4751C357B}" type="presOf" srcId="{2A06912D-EACB-432E-8435-3A7ADE9C14CB}" destId="{BF8BEB87-0CC9-444D-8644-3E63EE061522}" srcOrd="0" destOrd="0" presId="urn:microsoft.com/office/officeart/2005/8/layout/cycle3"/>
    <dgm:cxn modelId="{D7E1EE6C-95F1-4B05-9627-8A48059C1EF7}" type="presOf" srcId="{FEBF8EDB-DF58-43BF-8133-823A0B48C78F}" destId="{C55F4386-0388-4476-9751-1507A7F74A01}" srcOrd="0" destOrd="0" presId="urn:microsoft.com/office/officeart/2005/8/layout/cycle3"/>
    <dgm:cxn modelId="{7A58DB44-85CB-4303-9CA7-B9B767A60177}" type="presParOf" srcId="{5681C8E7-1C53-4F8C-BD61-929B4FCE3DB6}" destId="{BCFF012D-7819-451C-9146-99E5959A6920}" srcOrd="0" destOrd="0" presId="urn:microsoft.com/office/officeart/2005/8/layout/cycle3"/>
    <dgm:cxn modelId="{26046B77-4204-4AED-8A91-6488479F3D56}" type="presParOf" srcId="{BCFF012D-7819-451C-9146-99E5959A6920}" destId="{F7B5D609-FB4B-4F9C-BB98-A8BD852C3D17}" srcOrd="0" destOrd="0" presId="urn:microsoft.com/office/officeart/2005/8/layout/cycle3"/>
    <dgm:cxn modelId="{7DE0EAE3-E22D-4AEF-8D74-C40A9703A648}" type="presParOf" srcId="{BCFF012D-7819-451C-9146-99E5959A6920}" destId="{3B039709-2BD6-4E08-84F4-DE9F5CB085DD}" srcOrd="1" destOrd="0" presId="urn:microsoft.com/office/officeart/2005/8/layout/cycle3"/>
    <dgm:cxn modelId="{93667C63-B65B-4E9D-902A-E73FC79D63E7}" type="presParOf" srcId="{BCFF012D-7819-451C-9146-99E5959A6920}" destId="{C55F4386-0388-4476-9751-1507A7F74A01}" srcOrd="2" destOrd="0" presId="urn:microsoft.com/office/officeart/2005/8/layout/cycle3"/>
    <dgm:cxn modelId="{2EDECE6F-5C19-4DFC-8520-36EA85CD6972}" type="presParOf" srcId="{BCFF012D-7819-451C-9146-99E5959A6920}" destId="{BF8BEB87-0CC9-444D-8644-3E63EE061522}" srcOrd="3" destOrd="0" presId="urn:microsoft.com/office/officeart/2005/8/layout/cycle3"/>
    <dgm:cxn modelId="{79FCD052-35E1-411B-8DE3-EB86A537AE37}" type="presParOf" srcId="{BCFF012D-7819-451C-9146-99E5959A6920}" destId="{2A944DE6-6330-43A0-B315-2CDA49196EF8}" srcOrd="4" destOrd="0" presId="urn:microsoft.com/office/officeart/2005/8/layout/cycle3"/>
    <dgm:cxn modelId="{8A9DB0D1-1377-4D9A-8BC9-D40220E7F22E}" type="presParOf" srcId="{BCFF012D-7819-451C-9146-99E5959A6920}" destId="{A4E2D8DD-FFC3-4FE4-BC4C-41E90BA4A128}" srcOrd="5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  <dgm:t>
        <a:bodyPr/>
        <a:lstStyle/>
        <a:p>
          <a:endParaRPr lang="pl-PL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statystyczn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BEB8BDB3-8604-4AB5-B0D5-1326CC53DF96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E4C34CA7-603E-4871-8BFF-0548F7A5CDC5}" type="presOf" srcId="{BEB8BDB3-8604-4AB5-B0D5-1326CC53DF96}" destId="{11EFE52A-F1DA-470C-ABCB-AB48D83F6670}" srcOrd="0" destOrd="0" presId="urn:microsoft.com/office/officeart/2005/8/layout/chevron1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02AABE53-1D1D-4777-BB45-3915A29B5FE9}" type="presOf" srcId="{FEBF8EDB-DF58-43BF-8133-823A0B48C78F}" destId="{D3B1B9D8-B310-459E-AF5C-B8ADD3913C24}" srcOrd="0" destOrd="0" presId="urn:microsoft.com/office/officeart/2005/8/layout/chevron1"/>
    <dgm:cxn modelId="{16D9D66C-0936-4737-B689-C52AA077ABE1}" type="presOf" srcId="{2A06912D-EACB-432E-8435-3A7ADE9C14CB}" destId="{A7188FBA-CD32-4132-927D-6243CB892B31}" srcOrd="0" destOrd="0" presId="urn:microsoft.com/office/officeart/2005/8/layout/chevron1"/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96F9275C-51C7-4FD5-88B4-4CABDDAA2FD0}" type="presOf" srcId="{D5926DE3-CA64-4936-927F-C77C396C0AB8}" destId="{B0661BD3-4A81-4653-BB84-E627E6481213}" srcOrd="0" destOrd="0" presId="urn:microsoft.com/office/officeart/2005/8/layout/chevron1"/>
    <dgm:cxn modelId="{67DB0A48-F31D-4ABA-BE1B-6F2A456721BA}" type="presOf" srcId="{786AA0C9-E78F-4CDF-B61D-9FB32CA171F2}" destId="{861F3231-C34E-495E-95FD-D55DA534B7EF}" srcOrd="0" destOrd="0" presId="urn:microsoft.com/office/officeart/2005/8/layout/chevron1"/>
    <dgm:cxn modelId="{F7945F02-2685-44EE-9104-0CD82AFB4E21}" type="presOf" srcId="{755F826A-8A3B-462F-8413-36BC2F128EB4}" destId="{1BE9BB51-D376-478A-8CE6-321BD33A8804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9013428F-DFE8-48B4-A6C0-B664631E2470}" type="presParOf" srcId="{861F3231-C34E-495E-95FD-D55DA534B7EF}" destId="{11EFE52A-F1DA-470C-ABCB-AB48D83F6670}" srcOrd="0" destOrd="0" presId="urn:microsoft.com/office/officeart/2005/8/layout/chevron1"/>
    <dgm:cxn modelId="{FAE7E58C-1E85-4F73-8DE2-021035EF138E}" type="presParOf" srcId="{861F3231-C34E-495E-95FD-D55DA534B7EF}" destId="{E37B439F-D984-421C-A0D8-44AE4BB2A436}" srcOrd="1" destOrd="0" presId="urn:microsoft.com/office/officeart/2005/8/layout/chevron1"/>
    <dgm:cxn modelId="{4445E703-23DB-482A-965D-8B9B2ABB8D1B}" type="presParOf" srcId="{861F3231-C34E-495E-95FD-D55DA534B7EF}" destId="{D3B1B9D8-B310-459E-AF5C-B8ADD3913C24}" srcOrd="2" destOrd="0" presId="urn:microsoft.com/office/officeart/2005/8/layout/chevron1"/>
    <dgm:cxn modelId="{9A88D420-A4C3-4653-B5B9-4FB49A6FADFF}" type="presParOf" srcId="{861F3231-C34E-495E-95FD-D55DA534B7EF}" destId="{3375C24D-C122-48FF-8143-5606CB0936FF}" srcOrd="3" destOrd="0" presId="urn:microsoft.com/office/officeart/2005/8/layout/chevron1"/>
    <dgm:cxn modelId="{CD015BA9-3273-418D-893E-CECFA5D0F5F5}" type="presParOf" srcId="{861F3231-C34E-495E-95FD-D55DA534B7EF}" destId="{A7188FBA-CD32-4132-927D-6243CB892B31}" srcOrd="4" destOrd="0" presId="urn:microsoft.com/office/officeart/2005/8/layout/chevron1"/>
    <dgm:cxn modelId="{4A629602-0345-4F44-862D-284CDC652790}" type="presParOf" srcId="{861F3231-C34E-495E-95FD-D55DA534B7EF}" destId="{A111CFB2-1F72-40BB-B72B-4F7A7710A040}" srcOrd="5" destOrd="0" presId="urn:microsoft.com/office/officeart/2005/8/layout/chevron1"/>
    <dgm:cxn modelId="{8A5C69DD-5E5F-4944-9584-360F5987B6BA}" type="presParOf" srcId="{861F3231-C34E-495E-95FD-D55DA534B7EF}" destId="{1BE9BB51-D376-478A-8CE6-321BD33A8804}" srcOrd="6" destOrd="0" presId="urn:microsoft.com/office/officeart/2005/8/layout/chevron1"/>
    <dgm:cxn modelId="{A2AEB84D-F193-43C7-BF3B-FB890F7CCAFE}" type="presParOf" srcId="{861F3231-C34E-495E-95FD-D55DA534B7EF}" destId="{5848E1D1-F8D5-4C2A-86E5-92DD759CA14E}" srcOrd="7" destOrd="0" presId="urn:microsoft.com/office/officeart/2005/8/layout/chevron1"/>
    <dgm:cxn modelId="{33A36515-8B72-42C9-AD30-519D05B6D603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</dgm:pt>
    <dgm:pt modelId="{BEB8BDB3-8604-4AB5-B0D5-1326CC53DF96}">
      <dgm:prSet phldrT="[Tekst]" custT="1"/>
      <dgm:spPr>
        <a:gradFill rotWithShape="0">
          <a:gsLst>
            <a:gs pos="0">
              <a:srgbClr val="10226E"/>
            </a:gs>
            <a:gs pos="80000">
              <a:srgbClr val="182F91"/>
            </a:gs>
            <a:gs pos="100000">
              <a:srgbClr val="162E94"/>
            </a:gs>
          </a:gsLst>
        </a:gradFill>
      </dgm:spPr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statystyczn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524A9F24-7955-46B7-941E-8CC89756BE31}" type="presOf" srcId="{D5926DE3-CA64-4936-927F-C77C396C0AB8}" destId="{B0661BD3-4A81-4653-BB84-E627E6481213}" srcOrd="0" destOrd="0" presId="urn:microsoft.com/office/officeart/2005/8/layout/chevron1"/>
    <dgm:cxn modelId="{8D61841B-ADFD-4DED-83E1-C3D145A98874}" type="presOf" srcId="{BEB8BDB3-8604-4AB5-B0D5-1326CC53DF96}" destId="{11EFE52A-F1DA-470C-ABCB-AB48D83F6670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8940AF82-1D20-4081-AABD-7623EF38EA6A}" type="presOf" srcId="{FEBF8EDB-DF58-43BF-8133-823A0B48C78F}" destId="{D3B1B9D8-B310-459E-AF5C-B8ADD3913C24}" srcOrd="0" destOrd="0" presId="urn:microsoft.com/office/officeart/2005/8/layout/chevron1"/>
    <dgm:cxn modelId="{E65C5440-47FD-47B3-B902-C560D5F2B78D}" type="presOf" srcId="{2A06912D-EACB-432E-8435-3A7ADE9C14CB}" destId="{A7188FBA-CD32-4132-927D-6243CB892B31}" srcOrd="0" destOrd="0" presId="urn:microsoft.com/office/officeart/2005/8/layout/chevron1"/>
    <dgm:cxn modelId="{DEE868AD-BD99-4FB6-9271-7A884D9A0CB0}" type="presOf" srcId="{755F826A-8A3B-462F-8413-36BC2F128EB4}" destId="{1BE9BB51-D376-478A-8CE6-321BD33A8804}" srcOrd="0" destOrd="0" presId="urn:microsoft.com/office/officeart/2005/8/layout/chevron1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821C4410-DC78-4725-8818-24BD78A5B9F0}" type="presOf" srcId="{786AA0C9-E78F-4CDF-B61D-9FB32CA171F2}" destId="{861F3231-C34E-495E-95FD-D55DA534B7EF}" srcOrd="0" destOrd="0" presId="urn:microsoft.com/office/officeart/2005/8/layout/chevron1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0862E505-725D-4CF0-8ECC-0F55AD8929F8}" type="presParOf" srcId="{861F3231-C34E-495E-95FD-D55DA534B7EF}" destId="{11EFE52A-F1DA-470C-ABCB-AB48D83F6670}" srcOrd="0" destOrd="0" presId="urn:microsoft.com/office/officeart/2005/8/layout/chevron1"/>
    <dgm:cxn modelId="{38DB6B8E-5D18-4EC6-97F4-05746D67A5F5}" type="presParOf" srcId="{861F3231-C34E-495E-95FD-D55DA534B7EF}" destId="{E37B439F-D984-421C-A0D8-44AE4BB2A436}" srcOrd="1" destOrd="0" presId="urn:microsoft.com/office/officeart/2005/8/layout/chevron1"/>
    <dgm:cxn modelId="{EB2044C8-79B5-4204-B203-EB3D44E2CC61}" type="presParOf" srcId="{861F3231-C34E-495E-95FD-D55DA534B7EF}" destId="{D3B1B9D8-B310-459E-AF5C-B8ADD3913C24}" srcOrd="2" destOrd="0" presId="urn:microsoft.com/office/officeart/2005/8/layout/chevron1"/>
    <dgm:cxn modelId="{40C2E876-5560-4098-9453-3E39A3B6AD08}" type="presParOf" srcId="{861F3231-C34E-495E-95FD-D55DA534B7EF}" destId="{3375C24D-C122-48FF-8143-5606CB0936FF}" srcOrd="3" destOrd="0" presId="urn:microsoft.com/office/officeart/2005/8/layout/chevron1"/>
    <dgm:cxn modelId="{06AC9514-4253-4296-973A-650ED8200596}" type="presParOf" srcId="{861F3231-C34E-495E-95FD-D55DA534B7EF}" destId="{A7188FBA-CD32-4132-927D-6243CB892B31}" srcOrd="4" destOrd="0" presId="urn:microsoft.com/office/officeart/2005/8/layout/chevron1"/>
    <dgm:cxn modelId="{B5151635-8EC6-46C0-9B98-64FB1516A7E4}" type="presParOf" srcId="{861F3231-C34E-495E-95FD-D55DA534B7EF}" destId="{A111CFB2-1F72-40BB-B72B-4F7A7710A040}" srcOrd="5" destOrd="0" presId="urn:microsoft.com/office/officeart/2005/8/layout/chevron1"/>
    <dgm:cxn modelId="{6FCF5FF5-2BA5-46BD-922C-CEA0CF98566B}" type="presParOf" srcId="{861F3231-C34E-495E-95FD-D55DA534B7EF}" destId="{1BE9BB51-D376-478A-8CE6-321BD33A8804}" srcOrd="6" destOrd="0" presId="urn:microsoft.com/office/officeart/2005/8/layout/chevron1"/>
    <dgm:cxn modelId="{296547BF-42B6-4669-9DC3-A1B6F263CA4A}" type="presParOf" srcId="{861F3231-C34E-495E-95FD-D55DA534B7EF}" destId="{5848E1D1-F8D5-4C2A-86E5-92DD759CA14E}" srcOrd="7" destOrd="0" presId="urn:microsoft.com/office/officeart/2005/8/layout/chevron1"/>
    <dgm:cxn modelId="{103DA5EF-40D3-4366-9791-CA6ECBCA4B20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  <dgm:t>
        <a:bodyPr/>
        <a:lstStyle/>
        <a:p>
          <a:endParaRPr lang="pl-PL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</a:t>
          </a:r>
          <a:r>
            <a:rPr lang="pl-PL" sz="1000" dirty="0" err="1" smtClean="0"/>
            <a:t>scoringow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BEB8BDB3-8604-4AB5-B0D5-1326CC53DF96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23A63977-6C3D-49E8-AFA9-EC9271D5B93F}" type="presOf" srcId="{BEB8BDB3-8604-4AB5-B0D5-1326CC53DF96}" destId="{11EFE52A-F1DA-470C-ABCB-AB48D83F6670}" srcOrd="0" destOrd="0" presId="urn:microsoft.com/office/officeart/2005/8/layout/chevron1"/>
    <dgm:cxn modelId="{B4D2A9FE-95BA-428D-BD23-0BBBDD0E0E3C}" type="presOf" srcId="{786AA0C9-E78F-4CDF-B61D-9FB32CA171F2}" destId="{861F3231-C34E-495E-95FD-D55DA534B7EF}" srcOrd="0" destOrd="0" presId="urn:microsoft.com/office/officeart/2005/8/layout/chevron1"/>
    <dgm:cxn modelId="{4A066C13-0B9B-4003-A192-6A4A9613EDA1}" type="presOf" srcId="{FEBF8EDB-DF58-43BF-8133-823A0B48C78F}" destId="{D3B1B9D8-B310-459E-AF5C-B8ADD3913C24}" srcOrd="0" destOrd="0" presId="urn:microsoft.com/office/officeart/2005/8/layout/chevron1"/>
    <dgm:cxn modelId="{8847909E-1E95-4080-88AC-2B13037F0198}" type="presOf" srcId="{755F826A-8A3B-462F-8413-36BC2F128EB4}" destId="{1BE9BB51-D376-478A-8CE6-321BD33A8804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C0D26A6B-E0AF-4B40-8089-1E1022EE1495}" type="presOf" srcId="{2A06912D-EACB-432E-8435-3A7ADE9C14CB}" destId="{A7188FBA-CD32-4132-927D-6243CB892B31}" srcOrd="0" destOrd="0" presId="urn:microsoft.com/office/officeart/2005/8/layout/chevron1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623998F0-B662-46C6-B931-8551CD6BEB49}" type="presOf" srcId="{D5926DE3-CA64-4936-927F-C77C396C0AB8}" destId="{B0661BD3-4A81-4653-BB84-E627E6481213}" srcOrd="0" destOrd="0" presId="urn:microsoft.com/office/officeart/2005/8/layout/chevron1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42B737B9-4B8D-429E-8D16-93C8D4726846}" type="presParOf" srcId="{861F3231-C34E-495E-95FD-D55DA534B7EF}" destId="{11EFE52A-F1DA-470C-ABCB-AB48D83F6670}" srcOrd="0" destOrd="0" presId="urn:microsoft.com/office/officeart/2005/8/layout/chevron1"/>
    <dgm:cxn modelId="{A4E9DFBA-71D8-42F4-BDC8-D9DC6BD263F4}" type="presParOf" srcId="{861F3231-C34E-495E-95FD-D55DA534B7EF}" destId="{E37B439F-D984-421C-A0D8-44AE4BB2A436}" srcOrd="1" destOrd="0" presId="urn:microsoft.com/office/officeart/2005/8/layout/chevron1"/>
    <dgm:cxn modelId="{F3B8F45A-B11A-4352-B528-174C88C10FDC}" type="presParOf" srcId="{861F3231-C34E-495E-95FD-D55DA534B7EF}" destId="{D3B1B9D8-B310-459E-AF5C-B8ADD3913C24}" srcOrd="2" destOrd="0" presId="urn:microsoft.com/office/officeart/2005/8/layout/chevron1"/>
    <dgm:cxn modelId="{A5C667CC-A8E4-4AF6-A45F-3A43C2DCC34C}" type="presParOf" srcId="{861F3231-C34E-495E-95FD-D55DA534B7EF}" destId="{3375C24D-C122-48FF-8143-5606CB0936FF}" srcOrd="3" destOrd="0" presId="urn:microsoft.com/office/officeart/2005/8/layout/chevron1"/>
    <dgm:cxn modelId="{7F27C140-245C-4D79-95DC-4B91D5FB066A}" type="presParOf" srcId="{861F3231-C34E-495E-95FD-D55DA534B7EF}" destId="{A7188FBA-CD32-4132-927D-6243CB892B31}" srcOrd="4" destOrd="0" presId="urn:microsoft.com/office/officeart/2005/8/layout/chevron1"/>
    <dgm:cxn modelId="{48A7EA8D-E62C-4CF2-A753-07D56882E29D}" type="presParOf" srcId="{861F3231-C34E-495E-95FD-D55DA534B7EF}" destId="{A111CFB2-1F72-40BB-B72B-4F7A7710A040}" srcOrd="5" destOrd="0" presId="urn:microsoft.com/office/officeart/2005/8/layout/chevron1"/>
    <dgm:cxn modelId="{ADB825C5-5B49-49D3-A5B6-FFF056BAD9F0}" type="presParOf" srcId="{861F3231-C34E-495E-95FD-D55DA534B7EF}" destId="{1BE9BB51-D376-478A-8CE6-321BD33A8804}" srcOrd="6" destOrd="0" presId="urn:microsoft.com/office/officeart/2005/8/layout/chevron1"/>
    <dgm:cxn modelId="{13B3FDCD-C01D-45B8-BCC9-C43985BB839B}" type="presParOf" srcId="{861F3231-C34E-495E-95FD-D55DA534B7EF}" destId="{5848E1D1-F8D5-4C2A-86E5-92DD759CA14E}" srcOrd="7" destOrd="0" presId="urn:microsoft.com/office/officeart/2005/8/layout/chevron1"/>
    <dgm:cxn modelId="{CFA9EBDF-1CF6-4205-BE65-9174D32EB79E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</dgm:pt>
    <dgm:pt modelId="{BEB8BDB3-8604-4AB5-B0D5-1326CC53DF96}">
      <dgm:prSet phldrT="[Tekst]" custT="1"/>
      <dgm:spPr/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Budowa modelu statystyczn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</dgm:pt>
    <dgm:pt modelId="{11EFE52A-F1DA-470C-ABCB-AB48D83F6670}" type="pres">
      <dgm:prSet presAssocID="{BEB8BDB3-8604-4AB5-B0D5-1326CC53DF96}" presName="parTxOnly" presStyleLbl="node1" presStyleIdx="0" presStyleCnt="5" custLinFactNeighborX="-284" custLinFactNeighborY="10000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6898F800-4EA1-43F7-8B89-524B9E381F2C}" type="presOf" srcId="{755F826A-8A3B-462F-8413-36BC2F128EB4}" destId="{1BE9BB51-D376-478A-8CE6-321BD33A8804}" srcOrd="0" destOrd="0" presId="urn:microsoft.com/office/officeart/2005/8/layout/chevron1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86CB559E-C8AC-4D6E-B9CC-E5DF661F1A90}" type="presOf" srcId="{786AA0C9-E78F-4CDF-B61D-9FB32CA171F2}" destId="{861F3231-C34E-495E-95FD-D55DA534B7EF}" srcOrd="0" destOrd="0" presId="urn:microsoft.com/office/officeart/2005/8/layout/chevron1"/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94229A48-86B6-49C9-A2B5-24644163DF32}" type="presOf" srcId="{FEBF8EDB-DF58-43BF-8133-823A0B48C78F}" destId="{D3B1B9D8-B310-459E-AF5C-B8ADD3913C24}" srcOrd="0" destOrd="0" presId="urn:microsoft.com/office/officeart/2005/8/layout/chevron1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4AC272E8-4BDD-4DF6-9CB3-CC86C90611B9}" type="presOf" srcId="{D5926DE3-CA64-4936-927F-C77C396C0AB8}" destId="{B0661BD3-4A81-4653-BB84-E627E6481213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D257B9FE-C62B-43E7-9716-BEF5A2F29662}" type="presOf" srcId="{BEB8BDB3-8604-4AB5-B0D5-1326CC53DF96}" destId="{11EFE52A-F1DA-470C-ABCB-AB48D83F6670}" srcOrd="0" destOrd="0" presId="urn:microsoft.com/office/officeart/2005/8/layout/chevron1"/>
    <dgm:cxn modelId="{A349DCF6-680B-4FEF-87E1-70705EC7C906}" type="presOf" srcId="{2A06912D-EACB-432E-8435-3A7ADE9C14CB}" destId="{A7188FBA-CD32-4132-927D-6243CB892B31}" srcOrd="0" destOrd="0" presId="urn:microsoft.com/office/officeart/2005/8/layout/chevron1"/>
    <dgm:cxn modelId="{A871DEB9-C7C9-45E1-AEC2-F3C9DF0C69CA}" type="presParOf" srcId="{861F3231-C34E-495E-95FD-D55DA534B7EF}" destId="{11EFE52A-F1DA-470C-ABCB-AB48D83F6670}" srcOrd="0" destOrd="0" presId="urn:microsoft.com/office/officeart/2005/8/layout/chevron1"/>
    <dgm:cxn modelId="{3098D121-D801-4388-9785-89D976F7863F}" type="presParOf" srcId="{861F3231-C34E-495E-95FD-D55DA534B7EF}" destId="{E37B439F-D984-421C-A0D8-44AE4BB2A436}" srcOrd="1" destOrd="0" presId="urn:microsoft.com/office/officeart/2005/8/layout/chevron1"/>
    <dgm:cxn modelId="{41D83198-F5E6-4BB8-9004-D78F0524B41F}" type="presParOf" srcId="{861F3231-C34E-495E-95FD-D55DA534B7EF}" destId="{D3B1B9D8-B310-459E-AF5C-B8ADD3913C24}" srcOrd="2" destOrd="0" presId="urn:microsoft.com/office/officeart/2005/8/layout/chevron1"/>
    <dgm:cxn modelId="{D8AF956D-4270-4EDD-B0BB-579233F1397A}" type="presParOf" srcId="{861F3231-C34E-495E-95FD-D55DA534B7EF}" destId="{3375C24D-C122-48FF-8143-5606CB0936FF}" srcOrd="3" destOrd="0" presId="urn:microsoft.com/office/officeart/2005/8/layout/chevron1"/>
    <dgm:cxn modelId="{EE7731B5-4AAE-4A94-BB19-CDBF73EE6D69}" type="presParOf" srcId="{861F3231-C34E-495E-95FD-D55DA534B7EF}" destId="{A7188FBA-CD32-4132-927D-6243CB892B31}" srcOrd="4" destOrd="0" presId="urn:microsoft.com/office/officeart/2005/8/layout/chevron1"/>
    <dgm:cxn modelId="{80F03CD2-ED1E-4A6D-A7BF-3860851C0B5C}" type="presParOf" srcId="{861F3231-C34E-495E-95FD-D55DA534B7EF}" destId="{A111CFB2-1F72-40BB-B72B-4F7A7710A040}" srcOrd="5" destOrd="0" presId="urn:microsoft.com/office/officeart/2005/8/layout/chevron1"/>
    <dgm:cxn modelId="{EEF510F5-DB6B-4D84-8613-8DAF48775417}" type="presParOf" srcId="{861F3231-C34E-495E-95FD-D55DA534B7EF}" destId="{1BE9BB51-D376-478A-8CE6-321BD33A8804}" srcOrd="6" destOrd="0" presId="urn:microsoft.com/office/officeart/2005/8/layout/chevron1"/>
    <dgm:cxn modelId="{CAC20D2D-F5AE-4390-B156-1AF22C4D224C}" type="presParOf" srcId="{861F3231-C34E-495E-95FD-D55DA534B7EF}" destId="{5848E1D1-F8D5-4C2A-86E5-92DD759CA14E}" srcOrd="7" destOrd="0" presId="urn:microsoft.com/office/officeart/2005/8/layout/chevron1"/>
    <dgm:cxn modelId="{6B4E700D-6761-41AB-A747-D2B600D23477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  <dgm:t>
        <a:bodyPr/>
        <a:lstStyle/>
        <a:p>
          <a:endParaRPr lang="pl-PL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BEB8BDB3-8604-4AB5-B0D5-1326CC53DF96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</a:t>
          </a:r>
          <a:r>
            <a:rPr lang="pl-PL" sz="1000" dirty="0" err="1" smtClean="0"/>
            <a:t>scoringowego</a:t>
          </a:r>
          <a:endParaRPr lang="pl-PL" sz="1000" dirty="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33FDD8E0-522D-4417-BE5A-D207AB33834B}" type="presOf" srcId="{2A06912D-EACB-432E-8435-3A7ADE9C14CB}" destId="{A7188FBA-CD32-4132-927D-6243CB892B31}" srcOrd="0" destOrd="0" presId="urn:microsoft.com/office/officeart/2005/8/layout/chevron1"/>
    <dgm:cxn modelId="{1B0137F6-4D51-4F35-8EA5-4F4DA6DAFB56}" type="presOf" srcId="{BEB8BDB3-8604-4AB5-B0D5-1326CC53DF96}" destId="{11EFE52A-F1DA-470C-ABCB-AB48D83F6670}" srcOrd="0" destOrd="0" presId="urn:microsoft.com/office/officeart/2005/8/layout/chevron1"/>
    <dgm:cxn modelId="{C3B3B7BF-C843-4639-92EF-4491452F8E21}" type="presOf" srcId="{D5926DE3-CA64-4936-927F-C77C396C0AB8}" destId="{B0661BD3-4A81-4653-BB84-E627E6481213}" srcOrd="0" destOrd="0" presId="urn:microsoft.com/office/officeart/2005/8/layout/chevron1"/>
    <dgm:cxn modelId="{76354441-5F12-4FA5-B751-5D9218525126}" type="presOf" srcId="{786AA0C9-E78F-4CDF-B61D-9FB32CA171F2}" destId="{861F3231-C34E-495E-95FD-D55DA534B7EF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A76D9102-52A2-43EF-A1BB-8A022CE824D8}" type="presOf" srcId="{FEBF8EDB-DF58-43BF-8133-823A0B48C78F}" destId="{D3B1B9D8-B310-459E-AF5C-B8ADD3913C24}" srcOrd="0" destOrd="0" presId="urn:microsoft.com/office/officeart/2005/8/layout/chevron1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F2CC3515-A772-4375-B8C6-124A20CBF7A2}" type="presOf" srcId="{755F826A-8A3B-462F-8413-36BC2F128EB4}" destId="{1BE9BB51-D376-478A-8CE6-321BD33A8804}" srcOrd="0" destOrd="0" presId="urn:microsoft.com/office/officeart/2005/8/layout/chevron1"/>
    <dgm:cxn modelId="{464FBA64-3219-4B0B-ADA8-56F0A0914172}" type="presParOf" srcId="{861F3231-C34E-495E-95FD-D55DA534B7EF}" destId="{11EFE52A-F1DA-470C-ABCB-AB48D83F6670}" srcOrd="0" destOrd="0" presId="urn:microsoft.com/office/officeart/2005/8/layout/chevron1"/>
    <dgm:cxn modelId="{B9B44744-9FD1-4DDA-A7A2-3F8601D96ADE}" type="presParOf" srcId="{861F3231-C34E-495E-95FD-D55DA534B7EF}" destId="{E37B439F-D984-421C-A0D8-44AE4BB2A436}" srcOrd="1" destOrd="0" presId="urn:microsoft.com/office/officeart/2005/8/layout/chevron1"/>
    <dgm:cxn modelId="{1744C1BA-569D-49A5-B815-96A10B992A9A}" type="presParOf" srcId="{861F3231-C34E-495E-95FD-D55DA534B7EF}" destId="{D3B1B9D8-B310-459E-AF5C-B8ADD3913C24}" srcOrd="2" destOrd="0" presId="urn:microsoft.com/office/officeart/2005/8/layout/chevron1"/>
    <dgm:cxn modelId="{EA7D7907-194D-48B9-9210-7E0F87EFAADC}" type="presParOf" srcId="{861F3231-C34E-495E-95FD-D55DA534B7EF}" destId="{3375C24D-C122-48FF-8143-5606CB0936FF}" srcOrd="3" destOrd="0" presId="urn:microsoft.com/office/officeart/2005/8/layout/chevron1"/>
    <dgm:cxn modelId="{04AD9D40-C78C-4378-A796-A002ADFCD6EC}" type="presParOf" srcId="{861F3231-C34E-495E-95FD-D55DA534B7EF}" destId="{A7188FBA-CD32-4132-927D-6243CB892B31}" srcOrd="4" destOrd="0" presId="urn:microsoft.com/office/officeart/2005/8/layout/chevron1"/>
    <dgm:cxn modelId="{09F107E2-9322-4235-8D54-9BB7817481F1}" type="presParOf" srcId="{861F3231-C34E-495E-95FD-D55DA534B7EF}" destId="{A111CFB2-1F72-40BB-B72B-4F7A7710A040}" srcOrd="5" destOrd="0" presId="urn:microsoft.com/office/officeart/2005/8/layout/chevron1"/>
    <dgm:cxn modelId="{28228B5E-C6C5-4093-8980-68B73DFFC964}" type="presParOf" srcId="{861F3231-C34E-495E-95FD-D55DA534B7EF}" destId="{1BE9BB51-D376-478A-8CE6-321BD33A8804}" srcOrd="6" destOrd="0" presId="urn:microsoft.com/office/officeart/2005/8/layout/chevron1"/>
    <dgm:cxn modelId="{45286560-C7E7-4400-B1BC-99C0D80D8062}" type="presParOf" srcId="{861F3231-C34E-495E-95FD-D55DA534B7EF}" destId="{5848E1D1-F8D5-4C2A-86E5-92DD759CA14E}" srcOrd="7" destOrd="0" presId="urn:microsoft.com/office/officeart/2005/8/layout/chevron1"/>
    <dgm:cxn modelId="{58947068-AA98-4A8B-8693-DFBE67C93B2A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</dgm:pt>
    <dgm:pt modelId="{BEB8BDB3-8604-4AB5-B0D5-1326CC53DF96}">
      <dgm:prSet phldrT="[Tekst]" custT="1"/>
      <dgm:spPr/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statystyczn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 custLinFactNeighborX="42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34191DA3-D360-44B9-B4EB-668E6E2D6F11}" type="presOf" srcId="{2A06912D-EACB-432E-8435-3A7ADE9C14CB}" destId="{A7188FBA-CD32-4132-927D-6243CB892B31}" srcOrd="0" destOrd="0" presId="urn:microsoft.com/office/officeart/2005/8/layout/chevron1"/>
    <dgm:cxn modelId="{9BE23E81-A3E3-43FA-94AB-C4E3EE370AD5}" type="presOf" srcId="{755F826A-8A3B-462F-8413-36BC2F128EB4}" destId="{1BE9BB51-D376-478A-8CE6-321BD33A8804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A206B7A3-A497-4BB9-8283-89890C3F0ADE}" type="presOf" srcId="{FEBF8EDB-DF58-43BF-8133-823A0B48C78F}" destId="{D3B1B9D8-B310-459E-AF5C-B8ADD3913C24}" srcOrd="0" destOrd="0" presId="urn:microsoft.com/office/officeart/2005/8/layout/chevron1"/>
    <dgm:cxn modelId="{1539B7D0-46BB-4A52-8092-B0B17A63EFDD}" type="presOf" srcId="{D5926DE3-CA64-4936-927F-C77C396C0AB8}" destId="{B0661BD3-4A81-4653-BB84-E627E6481213}" srcOrd="0" destOrd="0" presId="urn:microsoft.com/office/officeart/2005/8/layout/chevron1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00714E7E-ADDB-4475-B13C-065F75F484B1}" type="presOf" srcId="{786AA0C9-E78F-4CDF-B61D-9FB32CA171F2}" destId="{861F3231-C34E-495E-95FD-D55DA534B7EF}" srcOrd="0" destOrd="0" presId="urn:microsoft.com/office/officeart/2005/8/layout/chevron1"/>
    <dgm:cxn modelId="{8BCED76F-BA0B-4CEE-92E9-640AF7D4E79C}" type="presOf" srcId="{BEB8BDB3-8604-4AB5-B0D5-1326CC53DF96}" destId="{11EFE52A-F1DA-470C-ABCB-AB48D83F6670}" srcOrd="0" destOrd="0" presId="urn:microsoft.com/office/officeart/2005/8/layout/chevron1"/>
    <dgm:cxn modelId="{FD00DE19-F20C-4A6F-B62F-7F960C97D1E4}" type="presParOf" srcId="{861F3231-C34E-495E-95FD-D55DA534B7EF}" destId="{11EFE52A-F1DA-470C-ABCB-AB48D83F6670}" srcOrd="0" destOrd="0" presId="urn:microsoft.com/office/officeart/2005/8/layout/chevron1"/>
    <dgm:cxn modelId="{116BC8EE-C91C-4641-83BF-B1D7891A0F34}" type="presParOf" srcId="{861F3231-C34E-495E-95FD-D55DA534B7EF}" destId="{E37B439F-D984-421C-A0D8-44AE4BB2A436}" srcOrd="1" destOrd="0" presId="urn:microsoft.com/office/officeart/2005/8/layout/chevron1"/>
    <dgm:cxn modelId="{2E2EF720-687F-4B55-A92D-2D59D052D42A}" type="presParOf" srcId="{861F3231-C34E-495E-95FD-D55DA534B7EF}" destId="{D3B1B9D8-B310-459E-AF5C-B8ADD3913C24}" srcOrd="2" destOrd="0" presId="urn:microsoft.com/office/officeart/2005/8/layout/chevron1"/>
    <dgm:cxn modelId="{6DF0566A-CC7B-4164-9413-612F283D92E6}" type="presParOf" srcId="{861F3231-C34E-495E-95FD-D55DA534B7EF}" destId="{3375C24D-C122-48FF-8143-5606CB0936FF}" srcOrd="3" destOrd="0" presId="urn:microsoft.com/office/officeart/2005/8/layout/chevron1"/>
    <dgm:cxn modelId="{9588CD79-92DC-47E2-B043-D97326F0624C}" type="presParOf" srcId="{861F3231-C34E-495E-95FD-D55DA534B7EF}" destId="{A7188FBA-CD32-4132-927D-6243CB892B31}" srcOrd="4" destOrd="0" presId="urn:microsoft.com/office/officeart/2005/8/layout/chevron1"/>
    <dgm:cxn modelId="{B0839A49-4845-49A4-AE06-F10A40D03810}" type="presParOf" srcId="{861F3231-C34E-495E-95FD-D55DA534B7EF}" destId="{A111CFB2-1F72-40BB-B72B-4F7A7710A040}" srcOrd="5" destOrd="0" presId="urn:microsoft.com/office/officeart/2005/8/layout/chevron1"/>
    <dgm:cxn modelId="{5095A7E3-C0DD-43F1-8320-18CAFFED877C}" type="presParOf" srcId="{861F3231-C34E-495E-95FD-D55DA534B7EF}" destId="{1BE9BB51-D376-478A-8CE6-321BD33A8804}" srcOrd="6" destOrd="0" presId="urn:microsoft.com/office/officeart/2005/8/layout/chevron1"/>
    <dgm:cxn modelId="{68DA11ED-B81A-4D0C-AFCA-9AD075263495}" type="presParOf" srcId="{861F3231-C34E-495E-95FD-D55DA534B7EF}" destId="{5848E1D1-F8D5-4C2A-86E5-92DD759CA14E}" srcOrd="7" destOrd="0" presId="urn:microsoft.com/office/officeart/2005/8/layout/chevron1"/>
    <dgm:cxn modelId="{4F2EA052-D86D-4B45-863A-9D6109EAFC9E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  <dgm:t>
        <a:bodyPr/>
        <a:lstStyle/>
        <a:p>
          <a:endParaRPr lang="pl-PL"/>
        </a:p>
      </dgm:t>
    </dgm:pt>
    <dgm:pt modelId="{D5926DE3-CA64-4936-927F-C77C396C0AB8}">
      <dgm:prSet phldrT="[Tekst]" custT="1"/>
      <dgm:spPr/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BEB8BDB3-8604-4AB5-B0D5-1326CC53DF96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</a:t>
          </a:r>
          <a:r>
            <a:rPr lang="pl-PL" sz="1000" dirty="0" err="1" smtClean="0"/>
            <a:t>scoringowego</a:t>
          </a:r>
          <a:endParaRPr lang="pl-PL" sz="1000" dirty="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1EFE52A-F1DA-470C-ABCB-AB48D83F6670}" type="pres">
      <dgm:prSet presAssocID="{BEB8BDB3-8604-4AB5-B0D5-1326CC53DF96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083B04F1-EA07-46C2-80BB-2C50DD8279CD}" type="presOf" srcId="{D5926DE3-CA64-4936-927F-C77C396C0AB8}" destId="{B0661BD3-4A81-4653-BB84-E627E6481213}" srcOrd="0" destOrd="0" presId="urn:microsoft.com/office/officeart/2005/8/layout/chevron1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9D504D3C-8BCB-4ACC-BCED-13B98C417CE1}" type="presOf" srcId="{755F826A-8A3B-462F-8413-36BC2F128EB4}" destId="{1BE9BB51-D376-478A-8CE6-321BD33A8804}" srcOrd="0" destOrd="0" presId="urn:microsoft.com/office/officeart/2005/8/layout/chevron1"/>
    <dgm:cxn modelId="{85AE6EB6-8084-4B22-B894-7DD9E405AD33}" type="presOf" srcId="{786AA0C9-E78F-4CDF-B61D-9FB32CA171F2}" destId="{861F3231-C34E-495E-95FD-D55DA534B7EF}" srcOrd="0" destOrd="0" presId="urn:microsoft.com/office/officeart/2005/8/layout/chevron1"/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7D81E9F8-CACB-4D05-98EE-F5B12A2E2EA2}" type="presOf" srcId="{BEB8BDB3-8604-4AB5-B0D5-1326CC53DF96}" destId="{11EFE52A-F1DA-470C-ABCB-AB48D83F6670}" srcOrd="0" destOrd="0" presId="urn:microsoft.com/office/officeart/2005/8/layout/chevron1"/>
    <dgm:cxn modelId="{28BC4005-0338-4A5A-A545-EAD5B7BDA7B2}" type="presOf" srcId="{2A06912D-EACB-432E-8435-3A7ADE9C14CB}" destId="{A7188FBA-CD32-4132-927D-6243CB892B31}" srcOrd="0" destOrd="0" presId="urn:microsoft.com/office/officeart/2005/8/layout/chevron1"/>
    <dgm:cxn modelId="{D4A588C6-E46D-490C-8684-56C0A57C9DAE}" type="presOf" srcId="{FEBF8EDB-DF58-43BF-8133-823A0B48C78F}" destId="{D3B1B9D8-B310-459E-AF5C-B8ADD3913C24}" srcOrd="0" destOrd="0" presId="urn:microsoft.com/office/officeart/2005/8/layout/chevron1"/>
    <dgm:cxn modelId="{B2B9F2B3-9E78-4F4D-8D37-876385261A2E}" type="presParOf" srcId="{861F3231-C34E-495E-95FD-D55DA534B7EF}" destId="{11EFE52A-F1DA-470C-ABCB-AB48D83F6670}" srcOrd="0" destOrd="0" presId="urn:microsoft.com/office/officeart/2005/8/layout/chevron1"/>
    <dgm:cxn modelId="{190F1461-9402-4E1C-B88A-BD839D6D5368}" type="presParOf" srcId="{861F3231-C34E-495E-95FD-D55DA534B7EF}" destId="{E37B439F-D984-421C-A0D8-44AE4BB2A436}" srcOrd="1" destOrd="0" presId="urn:microsoft.com/office/officeart/2005/8/layout/chevron1"/>
    <dgm:cxn modelId="{7BFA1D6A-B60B-4BAD-A675-A174B23DADCA}" type="presParOf" srcId="{861F3231-C34E-495E-95FD-D55DA534B7EF}" destId="{D3B1B9D8-B310-459E-AF5C-B8ADD3913C24}" srcOrd="2" destOrd="0" presId="urn:microsoft.com/office/officeart/2005/8/layout/chevron1"/>
    <dgm:cxn modelId="{C4D6598C-CB78-4788-9222-0D5696538B70}" type="presParOf" srcId="{861F3231-C34E-495E-95FD-D55DA534B7EF}" destId="{3375C24D-C122-48FF-8143-5606CB0936FF}" srcOrd="3" destOrd="0" presId="urn:microsoft.com/office/officeart/2005/8/layout/chevron1"/>
    <dgm:cxn modelId="{8A70A2C9-460D-49BE-A52B-E6DFF73245E4}" type="presParOf" srcId="{861F3231-C34E-495E-95FD-D55DA534B7EF}" destId="{A7188FBA-CD32-4132-927D-6243CB892B31}" srcOrd="4" destOrd="0" presId="urn:microsoft.com/office/officeart/2005/8/layout/chevron1"/>
    <dgm:cxn modelId="{32627857-D87B-4FCF-8FD8-4AE6D75837D5}" type="presParOf" srcId="{861F3231-C34E-495E-95FD-D55DA534B7EF}" destId="{A111CFB2-1F72-40BB-B72B-4F7A7710A040}" srcOrd="5" destOrd="0" presId="urn:microsoft.com/office/officeart/2005/8/layout/chevron1"/>
    <dgm:cxn modelId="{80F00D1F-F840-49AE-869B-BC12C3ECA1E8}" type="presParOf" srcId="{861F3231-C34E-495E-95FD-D55DA534B7EF}" destId="{1BE9BB51-D376-478A-8CE6-321BD33A8804}" srcOrd="6" destOrd="0" presId="urn:microsoft.com/office/officeart/2005/8/layout/chevron1"/>
    <dgm:cxn modelId="{73D67F78-098E-450B-AD1A-D5CB44B01677}" type="presParOf" srcId="{861F3231-C34E-495E-95FD-D55DA534B7EF}" destId="{5848E1D1-F8D5-4C2A-86E5-92DD759CA14E}" srcOrd="7" destOrd="0" presId="urn:microsoft.com/office/officeart/2005/8/layout/chevron1"/>
    <dgm:cxn modelId="{02358CD9-6EF2-4061-95FA-F61C314F4E7A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86AA0C9-E78F-4CDF-B61D-9FB32CA171F2}" type="doc">
      <dgm:prSet loTypeId="urn:microsoft.com/office/officeart/2005/8/layout/chevron1" loCatId="process" qsTypeId="urn:microsoft.com/office/officeart/2005/8/quickstyle/simple5" qsCatId="simple" csTypeId="urn:microsoft.com/office/officeart/2005/8/colors/accent1_3" csCatId="accent1" phldr="1"/>
      <dgm:spPr/>
    </dgm:pt>
    <dgm:pt modelId="{BEB8BDB3-8604-4AB5-B0D5-1326CC53DF96}">
      <dgm:prSet phldrT="[Tekst]" custT="1"/>
      <dgm:spPr/>
      <dgm:t>
        <a:bodyPr/>
        <a:lstStyle/>
        <a:p>
          <a:r>
            <a:rPr lang="pl-PL" sz="1000" dirty="0" smtClean="0"/>
            <a:t>Zrozumienie potrzeb biznesowych</a:t>
          </a:r>
          <a:endParaRPr lang="pl-PL" sz="1000" dirty="0"/>
        </a:p>
      </dgm:t>
    </dgm:pt>
    <dgm:pt modelId="{DD4D7579-F06A-413F-8CA6-D3087B285833}" type="parTrans" cxnId="{868E1EFC-BB61-4533-B4C2-7F05D87A8F0F}">
      <dgm:prSet/>
      <dgm:spPr/>
      <dgm:t>
        <a:bodyPr/>
        <a:lstStyle/>
        <a:p>
          <a:endParaRPr lang="pl-PL" sz="1000"/>
        </a:p>
      </dgm:t>
    </dgm:pt>
    <dgm:pt modelId="{FB8CD10D-7C22-453F-93FD-A4E42302ED2D}" type="sibTrans" cxnId="{868E1EFC-BB61-4533-B4C2-7F05D87A8F0F}">
      <dgm:prSet/>
      <dgm:spPr/>
      <dgm:t>
        <a:bodyPr/>
        <a:lstStyle/>
        <a:p>
          <a:endParaRPr lang="pl-PL" sz="1000"/>
        </a:p>
      </dgm:t>
    </dgm:pt>
    <dgm:pt modelId="{755F826A-8A3B-462F-8413-36BC2F128EB4}">
      <dgm:prSet phldrT="[Tekst]" custT="1"/>
      <dgm:spPr/>
      <dgm:t>
        <a:bodyPr/>
        <a:lstStyle/>
        <a:p>
          <a:r>
            <a:rPr lang="pl-PL" sz="1000" dirty="0" smtClean="0"/>
            <a:t>Działanie biznesowe</a:t>
          </a:r>
          <a:endParaRPr lang="pl-PL" sz="1000" dirty="0"/>
        </a:p>
      </dgm:t>
    </dgm:pt>
    <dgm:pt modelId="{DC468689-925A-498E-B1C3-61B16EFFEF39}" type="parTrans" cxnId="{C92214E0-28C0-4297-B0FE-C40E339051ED}">
      <dgm:prSet/>
      <dgm:spPr/>
      <dgm:t>
        <a:bodyPr/>
        <a:lstStyle/>
        <a:p>
          <a:endParaRPr lang="pl-PL" sz="1000"/>
        </a:p>
      </dgm:t>
    </dgm:pt>
    <dgm:pt modelId="{4C2330B0-DAD1-482F-9701-752C898EEE20}" type="sibTrans" cxnId="{C92214E0-28C0-4297-B0FE-C40E339051ED}">
      <dgm:prSet/>
      <dgm:spPr/>
      <dgm:t>
        <a:bodyPr/>
        <a:lstStyle/>
        <a:p>
          <a:endParaRPr lang="pl-PL" sz="1000"/>
        </a:p>
      </dgm:t>
    </dgm:pt>
    <dgm:pt modelId="{D5926DE3-CA64-4936-927F-C77C396C0AB8}">
      <dgm:prSet phldrT="[Tekst]" custT="1"/>
      <dgm:spPr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</a:gradFill>
      </dgm:spPr>
      <dgm:t>
        <a:bodyPr/>
        <a:lstStyle/>
        <a:p>
          <a:r>
            <a:rPr lang="pl-PL" sz="1000" dirty="0" smtClean="0"/>
            <a:t>Raportowanie i wnioski</a:t>
          </a:r>
          <a:endParaRPr lang="pl-PL" sz="1000" dirty="0"/>
        </a:p>
      </dgm:t>
    </dgm:pt>
    <dgm:pt modelId="{49AED2F5-D936-4EDA-A2D1-BFB8E6E9C414}" type="parTrans" cxnId="{69B05F53-0D50-400D-BC07-0E5C7A5AA235}">
      <dgm:prSet/>
      <dgm:spPr/>
      <dgm:t>
        <a:bodyPr/>
        <a:lstStyle/>
        <a:p>
          <a:endParaRPr lang="pl-PL" sz="1000"/>
        </a:p>
      </dgm:t>
    </dgm:pt>
    <dgm:pt modelId="{0109F43D-9D10-4D36-A2F0-05B1AC835949}" type="sibTrans" cxnId="{69B05F53-0D50-400D-BC07-0E5C7A5AA235}">
      <dgm:prSet/>
      <dgm:spPr/>
      <dgm:t>
        <a:bodyPr/>
        <a:lstStyle/>
        <a:p>
          <a:endParaRPr lang="pl-PL" sz="1000"/>
        </a:p>
      </dgm:t>
    </dgm:pt>
    <dgm:pt modelId="{FEBF8EDB-DF58-43BF-8133-823A0B48C78F}">
      <dgm:prSet phldrT="[Tekst]" custT="1"/>
      <dgm:spPr/>
      <dgm:t>
        <a:bodyPr/>
        <a:lstStyle/>
        <a:p>
          <a:r>
            <a:rPr lang="pl-PL" sz="1000" dirty="0" smtClean="0"/>
            <a:t>Przygotowanie zmiennych do modelowania</a:t>
          </a:r>
          <a:endParaRPr lang="pl-PL" sz="1000" dirty="0"/>
        </a:p>
      </dgm:t>
    </dgm:pt>
    <dgm:pt modelId="{1ED09359-6CF8-4939-AC84-E60E09ADE142}" type="parTrans" cxnId="{C9D6D9B8-026E-4854-8603-4CE4EF5DFA22}">
      <dgm:prSet/>
      <dgm:spPr/>
      <dgm:t>
        <a:bodyPr/>
        <a:lstStyle/>
        <a:p>
          <a:endParaRPr lang="pl-PL" sz="1000"/>
        </a:p>
      </dgm:t>
    </dgm:pt>
    <dgm:pt modelId="{12A4F4F0-5269-4237-BC39-B5F4BC7D9399}" type="sibTrans" cxnId="{C9D6D9B8-026E-4854-8603-4CE4EF5DFA22}">
      <dgm:prSet/>
      <dgm:spPr/>
      <dgm:t>
        <a:bodyPr/>
        <a:lstStyle/>
        <a:p>
          <a:endParaRPr lang="pl-PL" sz="1000"/>
        </a:p>
      </dgm:t>
    </dgm:pt>
    <dgm:pt modelId="{2A06912D-EACB-432E-8435-3A7ADE9C14CB}">
      <dgm:prSet phldrT="[Tekst]" custT="1"/>
      <dgm:spPr/>
      <dgm:t>
        <a:bodyPr/>
        <a:lstStyle/>
        <a:p>
          <a:r>
            <a:rPr lang="pl-PL" sz="1000" dirty="0" smtClean="0"/>
            <a:t>Budowa modelu statystycznego</a:t>
          </a:r>
          <a:endParaRPr lang="pl-PL" sz="1000" dirty="0"/>
        </a:p>
      </dgm:t>
    </dgm:pt>
    <dgm:pt modelId="{C2C593A2-4AD4-4F69-BD2E-B610E735F401}" type="parTrans" cxnId="{E1C2A501-DB3B-483F-A9BD-7666CF71068D}">
      <dgm:prSet/>
      <dgm:spPr/>
      <dgm:t>
        <a:bodyPr/>
        <a:lstStyle/>
        <a:p>
          <a:endParaRPr lang="pl-PL" sz="1000"/>
        </a:p>
      </dgm:t>
    </dgm:pt>
    <dgm:pt modelId="{D0D9ACAC-8148-4EC7-B21C-1529BD165CA2}" type="sibTrans" cxnId="{E1C2A501-DB3B-483F-A9BD-7666CF71068D}">
      <dgm:prSet/>
      <dgm:spPr/>
      <dgm:t>
        <a:bodyPr/>
        <a:lstStyle/>
        <a:p>
          <a:endParaRPr lang="pl-PL" sz="1000"/>
        </a:p>
      </dgm:t>
    </dgm:pt>
    <dgm:pt modelId="{861F3231-C34E-495E-95FD-D55DA534B7EF}" type="pres">
      <dgm:prSet presAssocID="{786AA0C9-E78F-4CDF-B61D-9FB32CA171F2}" presName="Name0" presStyleCnt="0">
        <dgm:presLayoutVars>
          <dgm:dir/>
          <dgm:animLvl val="lvl"/>
          <dgm:resizeHandles val="exact"/>
        </dgm:presLayoutVars>
      </dgm:prSet>
      <dgm:spPr/>
    </dgm:pt>
    <dgm:pt modelId="{11EFE52A-F1DA-470C-ABCB-AB48D83F6670}" type="pres">
      <dgm:prSet presAssocID="{BEB8BDB3-8604-4AB5-B0D5-1326CC53DF96}" presName="parTxOnly" presStyleLbl="node1" presStyleIdx="0" presStyleCnt="5" custLinFactNeighborX="-1123" custLinFactNeighborY="-1271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E37B439F-D984-421C-A0D8-44AE4BB2A436}" type="pres">
      <dgm:prSet presAssocID="{FB8CD10D-7C22-453F-93FD-A4E42302ED2D}" presName="parTxOnlySpace" presStyleCnt="0"/>
      <dgm:spPr/>
    </dgm:pt>
    <dgm:pt modelId="{D3B1B9D8-B310-459E-AF5C-B8ADD3913C24}" type="pres">
      <dgm:prSet presAssocID="{FEBF8EDB-DF58-43BF-8133-823A0B48C78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3375C24D-C122-48FF-8143-5606CB0936FF}" type="pres">
      <dgm:prSet presAssocID="{12A4F4F0-5269-4237-BC39-B5F4BC7D9399}" presName="parTxOnlySpace" presStyleCnt="0"/>
      <dgm:spPr/>
    </dgm:pt>
    <dgm:pt modelId="{A7188FBA-CD32-4132-927D-6243CB892B31}" type="pres">
      <dgm:prSet presAssocID="{2A06912D-EACB-432E-8435-3A7ADE9C14CB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111CFB2-1F72-40BB-B72B-4F7A7710A040}" type="pres">
      <dgm:prSet presAssocID="{D0D9ACAC-8148-4EC7-B21C-1529BD165CA2}" presName="parTxOnlySpace" presStyleCnt="0"/>
      <dgm:spPr/>
    </dgm:pt>
    <dgm:pt modelId="{1BE9BB51-D376-478A-8CE6-321BD33A8804}" type="pres">
      <dgm:prSet presAssocID="{755F826A-8A3B-462F-8413-36BC2F128EB4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5848E1D1-F8D5-4C2A-86E5-92DD759CA14E}" type="pres">
      <dgm:prSet presAssocID="{4C2330B0-DAD1-482F-9701-752C898EEE20}" presName="parTxOnlySpace" presStyleCnt="0"/>
      <dgm:spPr/>
    </dgm:pt>
    <dgm:pt modelId="{B0661BD3-4A81-4653-BB84-E627E6481213}" type="pres">
      <dgm:prSet presAssocID="{D5926DE3-CA64-4936-927F-C77C396C0AB8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C92214E0-28C0-4297-B0FE-C40E339051ED}" srcId="{786AA0C9-E78F-4CDF-B61D-9FB32CA171F2}" destId="{755F826A-8A3B-462F-8413-36BC2F128EB4}" srcOrd="3" destOrd="0" parTransId="{DC468689-925A-498E-B1C3-61B16EFFEF39}" sibTransId="{4C2330B0-DAD1-482F-9701-752C898EEE20}"/>
    <dgm:cxn modelId="{9B844881-5C29-426F-A13A-99377F55BAB2}" type="presOf" srcId="{BEB8BDB3-8604-4AB5-B0D5-1326CC53DF96}" destId="{11EFE52A-F1DA-470C-ABCB-AB48D83F6670}" srcOrd="0" destOrd="0" presId="urn:microsoft.com/office/officeart/2005/8/layout/chevron1"/>
    <dgm:cxn modelId="{C8CA1DDB-806E-4A6F-8ACB-3FE5050414E7}" type="presOf" srcId="{786AA0C9-E78F-4CDF-B61D-9FB32CA171F2}" destId="{861F3231-C34E-495E-95FD-D55DA534B7EF}" srcOrd="0" destOrd="0" presId="urn:microsoft.com/office/officeart/2005/8/layout/chevron1"/>
    <dgm:cxn modelId="{69B05F53-0D50-400D-BC07-0E5C7A5AA235}" srcId="{786AA0C9-E78F-4CDF-B61D-9FB32CA171F2}" destId="{D5926DE3-CA64-4936-927F-C77C396C0AB8}" srcOrd="4" destOrd="0" parTransId="{49AED2F5-D936-4EDA-A2D1-BFB8E6E9C414}" sibTransId="{0109F43D-9D10-4D36-A2F0-05B1AC835949}"/>
    <dgm:cxn modelId="{9B66F88C-8D5F-4702-9258-5C5561365A33}" type="presOf" srcId="{FEBF8EDB-DF58-43BF-8133-823A0B48C78F}" destId="{D3B1B9D8-B310-459E-AF5C-B8ADD3913C24}" srcOrd="0" destOrd="0" presId="urn:microsoft.com/office/officeart/2005/8/layout/chevron1"/>
    <dgm:cxn modelId="{36EAC72C-56D5-4939-8937-18BD567CF51E}" type="presOf" srcId="{2A06912D-EACB-432E-8435-3A7ADE9C14CB}" destId="{A7188FBA-CD32-4132-927D-6243CB892B31}" srcOrd="0" destOrd="0" presId="urn:microsoft.com/office/officeart/2005/8/layout/chevron1"/>
    <dgm:cxn modelId="{E1C2A501-DB3B-483F-A9BD-7666CF71068D}" srcId="{786AA0C9-E78F-4CDF-B61D-9FB32CA171F2}" destId="{2A06912D-EACB-432E-8435-3A7ADE9C14CB}" srcOrd="2" destOrd="0" parTransId="{C2C593A2-4AD4-4F69-BD2E-B610E735F401}" sibTransId="{D0D9ACAC-8148-4EC7-B21C-1529BD165CA2}"/>
    <dgm:cxn modelId="{F37609B4-B518-484A-BA14-227B88034CA1}" type="presOf" srcId="{755F826A-8A3B-462F-8413-36BC2F128EB4}" destId="{1BE9BB51-D376-478A-8CE6-321BD33A8804}" srcOrd="0" destOrd="0" presId="urn:microsoft.com/office/officeart/2005/8/layout/chevron1"/>
    <dgm:cxn modelId="{FF99F3B1-81B3-4EE8-A397-802CF55AA5CD}" type="presOf" srcId="{D5926DE3-CA64-4936-927F-C77C396C0AB8}" destId="{B0661BD3-4A81-4653-BB84-E627E6481213}" srcOrd="0" destOrd="0" presId="urn:microsoft.com/office/officeart/2005/8/layout/chevron1"/>
    <dgm:cxn modelId="{C9D6D9B8-026E-4854-8603-4CE4EF5DFA22}" srcId="{786AA0C9-E78F-4CDF-B61D-9FB32CA171F2}" destId="{FEBF8EDB-DF58-43BF-8133-823A0B48C78F}" srcOrd="1" destOrd="0" parTransId="{1ED09359-6CF8-4939-AC84-E60E09ADE142}" sibTransId="{12A4F4F0-5269-4237-BC39-B5F4BC7D9399}"/>
    <dgm:cxn modelId="{868E1EFC-BB61-4533-B4C2-7F05D87A8F0F}" srcId="{786AA0C9-E78F-4CDF-B61D-9FB32CA171F2}" destId="{BEB8BDB3-8604-4AB5-B0D5-1326CC53DF96}" srcOrd="0" destOrd="0" parTransId="{DD4D7579-F06A-413F-8CA6-D3087B285833}" sibTransId="{FB8CD10D-7C22-453F-93FD-A4E42302ED2D}"/>
    <dgm:cxn modelId="{C0ADFD72-61FD-4759-B8DE-FE07081B4EF4}" type="presParOf" srcId="{861F3231-C34E-495E-95FD-D55DA534B7EF}" destId="{11EFE52A-F1DA-470C-ABCB-AB48D83F6670}" srcOrd="0" destOrd="0" presId="urn:microsoft.com/office/officeart/2005/8/layout/chevron1"/>
    <dgm:cxn modelId="{11C9E715-D296-4CB4-9077-7E696CA17298}" type="presParOf" srcId="{861F3231-C34E-495E-95FD-D55DA534B7EF}" destId="{E37B439F-D984-421C-A0D8-44AE4BB2A436}" srcOrd="1" destOrd="0" presId="urn:microsoft.com/office/officeart/2005/8/layout/chevron1"/>
    <dgm:cxn modelId="{7BFDBE12-4186-48E4-B08C-710A1EB37448}" type="presParOf" srcId="{861F3231-C34E-495E-95FD-D55DA534B7EF}" destId="{D3B1B9D8-B310-459E-AF5C-B8ADD3913C24}" srcOrd="2" destOrd="0" presId="urn:microsoft.com/office/officeart/2005/8/layout/chevron1"/>
    <dgm:cxn modelId="{2A386F18-14BA-40F7-B401-CAC38E5D420B}" type="presParOf" srcId="{861F3231-C34E-495E-95FD-D55DA534B7EF}" destId="{3375C24D-C122-48FF-8143-5606CB0936FF}" srcOrd="3" destOrd="0" presId="urn:microsoft.com/office/officeart/2005/8/layout/chevron1"/>
    <dgm:cxn modelId="{72E1A031-7F42-4E62-9D9E-020165521483}" type="presParOf" srcId="{861F3231-C34E-495E-95FD-D55DA534B7EF}" destId="{A7188FBA-CD32-4132-927D-6243CB892B31}" srcOrd="4" destOrd="0" presId="urn:microsoft.com/office/officeart/2005/8/layout/chevron1"/>
    <dgm:cxn modelId="{84253147-44CC-437D-A99A-0B65B1D20A7C}" type="presParOf" srcId="{861F3231-C34E-495E-95FD-D55DA534B7EF}" destId="{A111CFB2-1F72-40BB-B72B-4F7A7710A040}" srcOrd="5" destOrd="0" presId="urn:microsoft.com/office/officeart/2005/8/layout/chevron1"/>
    <dgm:cxn modelId="{A76955E9-2F40-46F5-A54A-24F2078CCCC9}" type="presParOf" srcId="{861F3231-C34E-495E-95FD-D55DA534B7EF}" destId="{1BE9BB51-D376-478A-8CE6-321BD33A8804}" srcOrd="6" destOrd="0" presId="urn:microsoft.com/office/officeart/2005/8/layout/chevron1"/>
    <dgm:cxn modelId="{4B6446D8-0A5B-42EA-A12E-9C75EF5F10B1}" type="presParOf" srcId="{861F3231-C34E-495E-95FD-D55DA534B7EF}" destId="{5848E1D1-F8D5-4C2A-86E5-92DD759CA14E}" srcOrd="7" destOrd="0" presId="urn:microsoft.com/office/officeart/2005/8/layout/chevron1"/>
    <dgm:cxn modelId="{022E46DB-ED1F-4A38-AC18-2F2AD2AA7D04}" type="presParOf" srcId="{861F3231-C34E-495E-95FD-D55DA534B7EF}" destId="{B0661BD3-4A81-4653-BB84-E627E6481213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B039709-2BD6-4E08-84F4-DE9F5CB085DD}">
      <dsp:nvSpPr>
        <dsp:cNvPr id="0" name=""/>
        <dsp:cNvSpPr/>
      </dsp:nvSpPr>
      <dsp:spPr>
        <a:xfrm>
          <a:off x="1908059" y="-33726"/>
          <a:ext cx="5369156" cy="5369156"/>
        </a:xfrm>
        <a:prstGeom prst="circularArrow">
          <a:avLst>
            <a:gd name="adj1" fmla="val 5544"/>
            <a:gd name="adj2" fmla="val 330680"/>
            <a:gd name="adj3" fmla="val 13753451"/>
            <a:gd name="adj4" fmla="val 17399657"/>
            <a:gd name="adj5" fmla="val 575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7B5D609-FB4B-4F9C-BB98-A8BD852C3D17}">
      <dsp:nvSpPr>
        <dsp:cNvPr id="0" name=""/>
        <dsp:cNvSpPr/>
      </dsp:nvSpPr>
      <dsp:spPr>
        <a:xfrm>
          <a:off x="3323383" y="1497"/>
          <a:ext cx="2538508" cy="12692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400" kern="1200" dirty="0" smtClean="0"/>
            <a:t>Zrozumienie potrzeb biznesowych</a:t>
          </a:r>
          <a:endParaRPr lang="pl-PL" sz="2400" kern="1200" dirty="0"/>
        </a:p>
      </dsp:txBody>
      <dsp:txXfrm>
        <a:off x="3385343" y="63457"/>
        <a:ext cx="2414588" cy="1145334"/>
      </dsp:txXfrm>
    </dsp:sp>
    <dsp:sp modelId="{C55F4386-0388-4476-9751-1507A7F74A01}">
      <dsp:nvSpPr>
        <dsp:cNvPr id="0" name=""/>
        <dsp:cNvSpPr/>
      </dsp:nvSpPr>
      <dsp:spPr>
        <a:xfrm>
          <a:off x="5500940" y="1583585"/>
          <a:ext cx="2538508" cy="12692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400" kern="1200" dirty="0" smtClean="0"/>
            <a:t>Przygotowanie zmiennych do modelowania</a:t>
          </a:r>
          <a:endParaRPr lang="pl-PL" sz="2400" kern="1200" dirty="0"/>
        </a:p>
      </dsp:txBody>
      <dsp:txXfrm>
        <a:off x="5562900" y="1645545"/>
        <a:ext cx="2414588" cy="1145334"/>
      </dsp:txXfrm>
    </dsp:sp>
    <dsp:sp modelId="{BF8BEB87-0CC9-444D-8644-3E63EE061522}">
      <dsp:nvSpPr>
        <dsp:cNvPr id="0" name=""/>
        <dsp:cNvSpPr/>
      </dsp:nvSpPr>
      <dsp:spPr>
        <a:xfrm>
          <a:off x="4669187" y="4143457"/>
          <a:ext cx="2538508" cy="12692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400" kern="1200" dirty="0" smtClean="0"/>
            <a:t>Budowa modelu statystycznego</a:t>
          </a:r>
          <a:endParaRPr lang="pl-PL" sz="2400" kern="1200" dirty="0"/>
        </a:p>
      </dsp:txBody>
      <dsp:txXfrm>
        <a:off x="4731147" y="4205417"/>
        <a:ext cx="2414588" cy="1145334"/>
      </dsp:txXfrm>
    </dsp:sp>
    <dsp:sp modelId="{2A944DE6-6330-43A0-B315-2CDA49196EF8}">
      <dsp:nvSpPr>
        <dsp:cNvPr id="0" name=""/>
        <dsp:cNvSpPr/>
      </dsp:nvSpPr>
      <dsp:spPr>
        <a:xfrm>
          <a:off x="1977578" y="4143457"/>
          <a:ext cx="2538508" cy="12692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400" kern="1200" dirty="0" smtClean="0"/>
            <a:t>Działanie biznesowe</a:t>
          </a:r>
          <a:endParaRPr lang="pl-PL" sz="2400" kern="1200" dirty="0"/>
        </a:p>
      </dsp:txBody>
      <dsp:txXfrm>
        <a:off x="2039538" y="4205417"/>
        <a:ext cx="2414588" cy="1145334"/>
      </dsp:txXfrm>
    </dsp:sp>
    <dsp:sp modelId="{A4E2D8DD-FFC3-4FE4-BC4C-41E90BA4A128}">
      <dsp:nvSpPr>
        <dsp:cNvPr id="0" name=""/>
        <dsp:cNvSpPr/>
      </dsp:nvSpPr>
      <dsp:spPr>
        <a:xfrm>
          <a:off x="1145826" y="1583585"/>
          <a:ext cx="2538508" cy="1269254"/>
        </a:xfrm>
        <a:prstGeom prst="roundRect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2400" kern="1200" dirty="0" smtClean="0"/>
            <a:t>Raportowanie i wnioski</a:t>
          </a:r>
          <a:endParaRPr lang="pl-PL" sz="2400" kern="1200" dirty="0"/>
        </a:p>
      </dsp:txBody>
      <dsp:txXfrm>
        <a:off x="1207786" y="1645545"/>
        <a:ext cx="2414588" cy="114533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2242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748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4725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statystycznego</a:t>
          </a:r>
          <a:endParaRPr lang="pl-PL" sz="1000" kern="1200" dirty="0"/>
        </a:p>
      </dsp:txBody>
      <dsp:txXfrm>
        <a:off x="3835231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2242" y="0"/>
          <a:ext cx="1995823" cy="481012"/>
        </a:xfrm>
        <a:prstGeom prst="chevron">
          <a:avLst/>
        </a:prstGeom>
        <a:gradFill rotWithShape="0">
          <a:gsLst>
            <a:gs pos="0">
              <a:srgbClr val="10226E"/>
            </a:gs>
            <a:gs pos="80000">
              <a:srgbClr val="182F91"/>
            </a:gs>
            <a:gs pos="100000">
              <a:srgbClr val="162E94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748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4725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statystycznego</a:t>
          </a:r>
          <a:endParaRPr lang="pl-PL" sz="1000" kern="1200" dirty="0"/>
        </a:p>
      </dsp:txBody>
      <dsp:txXfrm>
        <a:off x="3835231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2242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748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4725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</a:t>
          </a:r>
          <a:r>
            <a:rPr lang="pl-PL" sz="1000" kern="1200" dirty="0" err="1" smtClean="0"/>
            <a:t>scoringowego</a:t>
          </a:r>
          <a:endParaRPr lang="pl-PL" sz="1000" kern="1200" dirty="0"/>
        </a:p>
      </dsp:txBody>
      <dsp:txXfrm>
        <a:off x="3835231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1675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181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4725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statystycznego</a:t>
          </a:r>
          <a:endParaRPr lang="pl-PL" sz="1000" kern="1200" dirty="0"/>
        </a:p>
      </dsp:txBody>
      <dsp:txXfrm>
        <a:off x="3835231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2242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748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4725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</a:t>
          </a:r>
          <a:r>
            <a:rPr lang="pl-PL" sz="1000" kern="1200" dirty="0" err="1" smtClean="0"/>
            <a:t>scoringowego</a:t>
          </a:r>
          <a:endParaRPr lang="pl-PL" sz="1000" kern="1200" dirty="0"/>
        </a:p>
      </dsp:txBody>
      <dsp:txXfrm>
        <a:off x="3835231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20634"/>
                <a:satOff val="-24460"/>
                <a:lumOff val="24637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20634"/>
                <a:satOff val="-24460"/>
                <a:lumOff val="24637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20634"/>
                <a:satOff val="-24460"/>
                <a:lumOff val="2463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EFE52A-F1DA-470C-ABCB-AB48D83F6670}">
      <dsp:nvSpPr>
        <dsp:cNvPr id="0" name=""/>
        <dsp:cNvSpPr/>
      </dsp:nvSpPr>
      <dsp:spPr>
        <a:xfrm>
          <a:off x="2242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Zrozumienie potrzeb biznesowych</a:t>
          </a:r>
          <a:endParaRPr lang="pl-PL" sz="1000" kern="1200" dirty="0"/>
        </a:p>
      </dsp:txBody>
      <dsp:txXfrm>
        <a:off x="242748" y="0"/>
        <a:ext cx="1514811" cy="481012"/>
      </dsp:txXfrm>
    </dsp:sp>
    <dsp:sp modelId="{D3B1B9D8-B310-459E-AF5C-B8ADD3913C24}">
      <dsp:nvSpPr>
        <dsp:cNvPr id="0" name=""/>
        <dsp:cNvSpPr/>
      </dsp:nvSpPr>
      <dsp:spPr>
        <a:xfrm>
          <a:off x="1798484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73545"/>
                <a:satOff val="-8153"/>
                <a:lumOff val="8212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73545"/>
                <a:satOff val="-8153"/>
                <a:lumOff val="8212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73545"/>
                <a:satOff val="-8153"/>
                <a:lumOff val="8212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Przygotowanie zmiennych do modelowania</a:t>
          </a:r>
          <a:endParaRPr lang="pl-PL" sz="1000" kern="1200" dirty="0"/>
        </a:p>
      </dsp:txBody>
      <dsp:txXfrm>
        <a:off x="2038990" y="0"/>
        <a:ext cx="1514811" cy="481012"/>
      </dsp:txXfrm>
    </dsp:sp>
    <dsp:sp modelId="{A7188FBA-CD32-4132-927D-6243CB892B31}">
      <dsp:nvSpPr>
        <dsp:cNvPr id="0" name=""/>
        <dsp:cNvSpPr/>
      </dsp:nvSpPr>
      <dsp:spPr>
        <a:xfrm>
          <a:off x="3595563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147090"/>
                <a:satOff val="-16307"/>
                <a:lumOff val="16425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147090"/>
                <a:satOff val="-16307"/>
                <a:lumOff val="16425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147090"/>
                <a:satOff val="-16307"/>
                <a:lumOff val="1642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Budowa modelu statystycznego</a:t>
          </a:r>
          <a:endParaRPr lang="pl-PL" sz="1000" kern="1200" dirty="0"/>
        </a:p>
      </dsp:txBody>
      <dsp:txXfrm>
        <a:off x="3836069" y="0"/>
        <a:ext cx="1514811" cy="481012"/>
      </dsp:txXfrm>
    </dsp:sp>
    <dsp:sp modelId="{1BE9BB51-D376-478A-8CE6-321BD33A8804}">
      <dsp:nvSpPr>
        <dsp:cNvPr id="0" name=""/>
        <dsp:cNvSpPr/>
      </dsp:nvSpPr>
      <dsp:spPr>
        <a:xfrm>
          <a:off x="5390967" y="0"/>
          <a:ext cx="1995823" cy="481012"/>
        </a:xfrm>
        <a:prstGeom prst="chevron">
          <a:avLst/>
        </a:prstGeom>
        <a:gradFill rotWithShape="0">
          <a:gsLst>
            <a:gs pos="0">
              <a:schemeClr val="accent3">
                <a:lumMod val="75000"/>
              </a:schemeClr>
            </a:gs>
            <a:gs pos="80000">
              <a:schemeClr val="accent3">
                <a:lumMod val="60000"/>
                <a:lumOff val="40000"/>
              </a:schemeClr>
            </a:gs>
            <a:gs pos="100000">
              <a:schemeClr val="accent3">
                <a:lumMod val="40000"/>
                <a:lumOff val="6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Działanie biznesowe</a:t>
          </a:r>
          <a:endParaRPr lang="pl-PL" sz="1000" kern="1200" dirty="0"/>
        </a:p>
      </dsp:txBody>
      <dsp:txXfrm>
        <a:off x="5631473" y="0"/>
        <a:ext cx="1514811" cy="481012"/>
      </dsp:txXfrm>
    </dsp:sp>
    <dsp:sp modelId="{B0661BD3-4A81-4653-BB84-E627E6481213}">
      <dsp:nvSpPr>
        <dsp:cNvPr id="0" name=""/>
        <dsp:cNvSpPr/>
      </dsp:nvSpPr>
      <dsp:spPr>
        <a:xfrm>
          <a:off x="7187208" y="0"/>
          <a:ext cx="1995823" cy="481012"/>
        </a:xfrm>
        <a:prstGeom prst="chevron">
          <a:avLst/>
        </a:prstGeom>
        <a:gradFill rotWithShape="0">
          <a:gsLst>
            <a:gs pos="0">
              <a:schemeClr val="accent1">
                <a:shade val="80000"/>
                <a:hueOff val="294179"/>
                <a:satOff val="-32613"/>
                <a:lumOff val="32849"/>
                <a:alphaOff val="0"/>
                <a:shade val="51000"/>
                <a:satMod val="130000"/>
              </a:schemeClr>
            </a:gs>
            <a:gs pos="80000">
              <a:schemeClr val="accent1">
                <a:shade val="80000"/>
                <a:hueOff val="294179"/>
                <a:satOff val="-32613"/>
                <a:lumOff val="32849"/>
                <a:alphaOff val="0"/>
                <a:shade val="93000"/>
                <a:satMod val="130000"/>
              </a:schemeClr>
            </a:gs>
            <a:gs pos="100000">
              <a:schemeClr val="accent1">
                <a:shade val="80000"/>
                <a:hueOff val="294179"/>
                <a:satOff val="-32613"/>
                <a:lumOff val="3284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0005" tIns="13335" rIns="13335" bIns="13335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000" kern="1200" dirty="0" smtClean="0"/>
            <a:t>Raportowanie i wnioski</a:t>
          </a:r>
          <a:endParaRPr lang="pl-PL" sz="1000" kern="1200" dirty="0"/>
        </a:p>
      </dsp:txBody>
      <dsp:txXfrm>
        <a:off x="7427714" y="0"/>
        <a:ext cx="1514811" cy="48101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86754" tIns="43377" rIns="86754" bIns="43377" rtlCol="0"/>
          <a:lstStyle>
            <a:lvl1pPr algn="l" defTabSz="914284" fontAlgn="auto">
              <a:spcBef>
                <a:spcPts val="0"/>
              </a:spcBef>
              <a:spcAft>
                <a:spcPts val="0"/>
              </a:spcAft>
              <a:defRPr sz="11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86754" tIns="43377" rIns="86754" bIns="43377" rtlCol="0"/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100">
                <a:ea typeface="+mn-ea"/>
                <a:cs typeface="+mn-cs"/>
              </a:defRPr>
            </a:lvl1pPr>
          </a:lstStyle>
          <a:p>
            <a:pPr>
              <a:defRPr/>
            </a:pPr>
            <a:fld id="{4B413E0E-DE72-456E-9FEF-344ECD2A47E0}" type="datetimeFigureOut">
              <a:rPr lang="en-US"/>
              <a:pPr>
                <a:defRPr/>
              </a:pPr>
              <a:t>4/19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46400" cy="492125"/>
          </a:xfrm>
          <a:prstGeom prst="rect">
            <a:avLst/>
          </a:prstGeom>
        </p:spPr>
        <p:txBody>
          <a:bodyPr vert="horz" lIns="86754" tIns="43377" rIns="86754" bIns="43377" rtlCol="0" anchor="b"/>
          <a:lstStyle>
            <a:lvl1pPr algn="l" defTabSz="914284" fontAlgn="auto">
              <a:spcBef>
                <a:spcPts val="0"/>
              </a:spcBef>
              <a:spcAft>
                <a:spcPts val="0"/>
              </a:spcAft>
              <a:defRPr sz="11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63075"/>
            <a:ext cx="2946400" cy="492125"/>
          </a:xfrm>
          <a:prstGeom prst="rect">
            <a:avLst/>
          </a:prstGeom>
        </p:spPr>
        <p:txBody>
          <a:bodyPr vert="horz" lIns="86754" tIns="43377" rIns="86754" bIns="43377" rtlCol="0" anchor="b"/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100">
                <a:ea typeface="+mn-ea"/>
                <a:cs typeface="+mn-cs"/>
              </a:defRPr>
            </a:lvl1pPr>
          </a:lstStyle>
          <a:p>
            <a:pPr>
              <a:defRPr/>
            </a:pPr>
            <a:fld id="{E28CB5A0-52F2-4E43-AC7A-92F1F677DF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85658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2125"/>
          </a:xfrm>
          <a:prstGeom prst="rect">
            <a:avLst/>
          </a:prstGeom>
        </p:spPr>
        <p:txBody>
          <a:bodyPr vert="horz" lIns="93948" tIns="46973" rIns="93948" bIns="46973" rtlCol="0"/>
          <a:lstStyle>
            <a:lvl1pPr algn="l" defTabSz="914284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2125"/>
          </a:xfrm>
          <a:prstGeom prst="rect">
            <a:avLst/>
          </a:prstGeom>
        </p:spPr>
        <p:txBody>
          <a:bodyPr vert="horz" lIns="93948" tIns="46973" rIns="93948" bIns="46973" rtlCol="0"/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923378E3-4427-4E32-9137-3EFF43EFFC2F}" type="datetimeFigureOut">
              <a:rPr lang="en-US"/>
              <a:pPr>
                <a:defRPr/>
              </a:pPr>
              <a:t>4/1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8663" y="738188"/>
            <a:ext cx="5340350" cy="36972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948" tIns="46973" rIns="93948" bIns="4697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81538"/>
            <a:ext cx="5438775" cy="4435475"/>
          </a:xfrm>
          <a:prstGeom prst="rect">
            <a:avLst/>
          </a:prstGeom>
        </p:spPr>
        <p:txBody>
          <a:bodyPr vert="horz" lIns="93948" tIns="46973" rIns="93948" bIns="46973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1488"/>
            <a:ext cx="2946400" cy="493712"/>
          </a:xfrm>
          <a:prstGeom prst="rect">
            <a:avLst/>
          </a:prstGeom>
        </p:spPr>
        <p:txBody>
          <a:bodyPr vert="horz" lIns="93948" tIns="46973" rIns="93948" bIns="46973" rtlCol="0" anchor="b"/>
          <a:lstStyle>
            <a:lvl1pPr algn="l" defTabSz="914284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61488"/>
            <a:ext cx="2946400" cy="493712"/>
          </a:xfrm>
          <a:prstGeom prst="rect">
            <a:avLst/>
          </a:prstGeom>
        </p:spPr>
        <p:txBody>
          <a:bodyPr vert="horz" lIns="93948" tIns="46973" rIns="93948" bIns="46973" rtlCol="0" anchor="b"/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01CA225-D886-472C-B82A-A47C30398E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30123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711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53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96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38" algn="l" defTabSz="91428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4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5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6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7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8.jpe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9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11.jpe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12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3.jpe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4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9.bin"/><Relationship Id="rId4" Type="http://schemas.openxmlformats.org/officeDocument/2006/relationships/image" Target="../media/image15.jpe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image" Target="../media/image1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7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8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1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5632450"/>
            <a:ext cx="10175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24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9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1201" y="2250932"/>
            <a:ext cx="9183600" cy="1038691"/>
          </a:xfrm>
          <a:blipFill>
            <a:blip r:embed="rId8"/>
            <a:stretch>
              <a:fillRect/>
            </a:stretch>
          </a:blipFill>
        </p:spPr>
        <p:txBody>
          <a:bodyPr lIns="107987" tIns="144000" rIns="71991" bIns="143982" anchor="ctr"/>
          <a:lstStyle>
            <a:lvl1pPr algn="l">
              <a:lnSpc>
                <a:spcPct val="90000"/>
              </a:lnSpc>
              <a:defRPr lang="en-GB" sz="5400" b="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 bwMode="gray">
          <a:xfrm>
            <a:off x="361202" y="4005267"/>
            <a:ext cx="4125341" cy="651905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</p:spPr>
        <p:txBody>
          <a:bodyPr lIns="72000" tIns="18000" bIns="1800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baseline="0"/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575688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59726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345032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1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621488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5107682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DCB3757-0726-4F56-8532-688A7833DEF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1177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6E359D6-4F5C-49D4-B721-11C3498C0510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166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996F5C5-E826-4F07-ABFB-1AE33591C73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2260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EBE1DCC-CD98-4AEA-A862-2EC167244D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888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F5C98BED-F4F7-4168-9D24-993F0FD810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34815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C437E094-626D-4BF3-85AD-3D0ABF5AC6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411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2799896-B97F-405C-87D6-B9929C0D42D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0179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548000"/>
            <a:ext cx="91836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0B9AA54-EB48-4166-9134-F6C4F9E501F8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7767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5106299" y="1547998"/>
            <a:ext cx="4438200" cy="4793258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60000" y="1548000"/>
            <a:ext cx="4429464" cy="4793257"/>
          </a:xfrm>
        </p:spPr>
        <p:txBody>
          <a:bodyPr/>
          <a:lstStyle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BC688A0-E468-480B-956F-C46844E145D2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301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2BA5EB4-4B4C-40FE-B5C1-8938BC19940E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664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906000" cy="6596055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84419B1-2A0E-40C3-84A6-C39607DBCEA1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507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0" y="1548000"/>
            <a:ext cx="9184500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AB19EE9-F1AB-40AA-9950-B8A9780874D0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2331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2" y="1548000"/>
            <a:ext cx="4429125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5115376" y="1546056"/>
            <a:ext cx="4429125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2404DC-7C70-42B3-A078-156E36AABC9F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7442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2" y="1547999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5115376" y="1547999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60002" y="4087656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5115376" y="4087656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C1D0AD4-867D-402A-AF21-8DD079691341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2944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548000"/>
            <a:ext cx="91836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EA51C2FB-0C3D-4299-A174-EC79C68B3530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7522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5107682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Font typeface="Arial" pitchFamily="34" charset="0"/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D7D242-BEF2-45FB-B003-1A47FFAB8301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5403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5632450"/>
            <a:ext cx="10175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13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 bwMode="gray">
          <a:xfrm>
            <a:off x="361201" y="2250932"/>
            <a:ext cx="9183600" cy="1038691"/>
          </a:xfrm>
          <a:blipFill>
            <a:blip r:embed="rId8"/>
            <a:stretch>
              <a:fillRect/>
            </a:stretch>
          </a:blipFill>
        </p:spPr>
        <p:txBody>
          <a:bodyPr lIns="107987" tIns="144000" rIns="71991" bIns="143982" anchor="ctr"/>
          <a:lstStyle>
            <a:lvl1pPr algn="l">
              <a:lnSpc>
                <a:spcPct val="90000"/>
              </a:lnSpc>
              <a:defRPr lang="en-GB" sz="5400" b="0" kern="1200" spc="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 bwMode="gray">
          <a:xfrm>
            <a:off x="361202" y="4005267"/>
            <a:ext cx="4125341" cy="651905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</p:spPr>
        <p:txBody>
          <a:bodyPr lIns="72000" tIns="18000" bIns="1800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0" baseline="0"/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2382415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548000"/>
            <a:ext cx="91836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5B6705EB-3532-473A-834F-26534A9D9065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676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91845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249ECDF-D7A7-4EA2-8C6C-29C588E0475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88568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Unbullet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91845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2084D0E-F238-41DB-B511-0BA1BF37E841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4760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6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750" y="2945447"/>
            <a:ext cx="9184500" cy="967111"/>
          </a:xfrm>
          <a:blipFill>
            <a:blip r:embed="rId7"/>
            <a:stretch>
              <a:fillRect/>
            </a:stretch>
          </a:blipFill>
        </p:spPr>
        <p:txBody>
          <a:bodyPr lIns="107987" tIns="108000" rIns="71991" bIns="109094" rtlCol="0" anchor="ctr" anchorCtr="1"/>
          <a:lstStyle>
            <a:lvl1pPr algn="ctr" defTabSz="9142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2284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359997" y="719997"/>
            <a:ext cx="8478000" cy="2095200"/>
          </a:xfrm>
          <a:blipFill>
            <a:blip r:embed="rId7"/>
            <a:stretch>
              <a:fillRect/>
            </a:stretch>
          </a:blipFill>
        </p:spPr>
        <p:txBody>
          <a:bodyPr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80294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751768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469455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6463541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3969333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30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182804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1097753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35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830738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2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60750" y="2945447"/>
            <a:ext cx="9184500" cy="967111"/>
          </a:xfrm>
          <a:blipFill>
            <a:blip r:embed="rId7"/>
            <a:stretch>
              <a:fillRect/>
            </a:stretch>
          </a:blipFill>
        </p:spPr>
        <p:txBody>
          <a:bodyPr lIns="107987" tIns="108000" rIns="71991" bIns="109094" rtlCol="0" anchor="ctr" anchorCtr="1"/>
          <a:lstStyle>
            <a:lvl1pPr algn="ctr" defTabSz="9142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63546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5107682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E1B1F705-FDC2-42A1-B77F-131405CE1431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15228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5ECB0626-6C14-4E58-87C5-F7B6E4E355AD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4631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1835A984-305F-49C9-A5A1-586384E8083A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79775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1FC07B4-2E00-4691-8DB4-A7042FF0B8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4672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6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D53656A-7BC2-49C4-A3B7-F15B6C634D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3792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5EC5CBE-35D5-4CA4-9C56-18020B0F1A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7679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01" y="1268765"/>
            <a:ext cx="8143933" cy="3673474"/>
          </a:xfrm>
        </p:spPr>
        <p:txBody>
          <a:bodyPr anchor="ctr">
            <a:noAutofit/>
          </a:bodyPr>
          <a:lstStyle>
            <a:lvl1pPr>
              <a:lnSpc>
                <a:spcPct val="90000"/>
              </a:lnSpc>
              <a:defRPr sz="5400" b="0" baseline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4935381"/>
            <a:ext cx="8143200" cy="492443"/>
          </a:xfrm>
        </p:spPr>
        <p:txBody>
          <a:bodyPr rtlCol="0">
            <a:sp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3200" b="0" i="0" baseline="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CE9294C8-9E37-4E5E-A937-A4ECC85D5B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8839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 bwMode="gray">
          <a:xfrm>
            <a:off x="5106299" y="1547998"/>
            <a:ext cx="4438200" cy="4793258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360000" y="1548000"/>
            <a:ext cx="4429464" cy="4793257"/>
          </a:xfrm>
        </p:spPr>
        <p:txBody>
          <a:bodyPr/>
          <a:lstStyle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marR="0" indent="0" algn="l" defTabSz="91428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itchFamily="34" charset="0"/>
              <a:buNone/>
              <a:tabLst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</p:txBody>
      </p:sp>
      <p:sp>
        <p:nvSpPr>
          <p:cNvPr id="10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2F745EC-CA5D-4D61-B04F-BE57B542EEB2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207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7CB8F12-96BB-48FF-BD71-9460687554A7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54144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0" y="4"/>
            <a:ext cx="9906000" cy="6596055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7D7F9EB-FBA9-44CC-93B6-2BA887737A0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754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 bwMode="gray">
          <a:xfrm>
            <a:off x="359997" y="719997"/>
            <a:ext cx="8478000" cy="2095200"/>
          </a:xfrm>
          <a:blipFill>
            <a:blip r:embed="rId7"/>
            <a:stretch>
              <a:fillRect/>
            </a:stretch>
          </a:blipFill>
        </p:spPr>
        <p:txBody>
          <a:bodyPr lIns="215972" tIns="143982" rIns="215972" bIns="215972" rtlCol="0">
            <a:spAutoFit/>
          </a:bodyPr>
          <a:lstStyle>
            <a:lvl1pPr marL="0" indent="0">
              <a:buNone/>
              <a:defRPr lang="en-US" b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408553943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0" y="1548000"/>
            <a:ext cx="9184500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rmAutofit/>
          </a:bodyPr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7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EDEF07D-C7FA-439B-80B2-4CFA89AC74FB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88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2" y="1548000"/>
            <a:ext cx="4429125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5115376" y="1546056"/>
            <a:ext cx="4429125" cy="47952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F8EC030-9AA2-492B-B5DB-B7AE7F9D9BA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38474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 bwMode="gray">
          <a:xfrm>
            <a:off x="360002" y="1547999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5115376" y="1547999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60002" y="4087656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7"/>
          </p:nvPr>
        </p:nvSpPr>
        <p:spPr bwMode="gray">
          <a:xfrm>
            <a:off x="5115376" y="4087656"/>
            <a:ext cx="4429125" cy="22536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</a:ln>
        </p:spPr>
        <p:txBody>
          <a:bodyPr rtlCol="0">
            <a:noAutofit/>
          </a:bodyPr>
          <a:lstStyle>
            <a:lvl1pPr marL="0" indent="0" algn="l" defTabSz="914284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Arial" pitchFamily="34" charset="0"/>
              <a:buNone/>
              <a:defRPr lang="en-GB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1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5F344DA-799C-45E8-A936-DC003BCDA9B6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331672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548000"/>
            <a:ext cx="91836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 marL="652463" indent="-180975">
              <a:defRPr lang="en-US" smtClean="0"/>
            </a:lvl4pPr>
            <a:lvl5pPr marL="642938" indent="17463">
              <a:defRPr lang="en-GB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Text Placeholder 2"/>
          <p:cNvSpPr>
            <a:spLocks noGrp="1"/>
          </p:cNvSpPr>
          <p:nvPr>
            <p:ph type="body" idx="10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03B4C4C-B24A-4499-8BAC-36689E2C2AD3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60890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999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0"/>
          </p:nvPr>
        </p:nvSpPr>
        <p:spPr>
          <a:xfrm>
            <a:off x="5107682" y="1548000"/>
            <a:ext cx="4430400" cy="479325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5pPr marL="660400" indent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1"/>
          </p:nvPr>
        </p:nvSpPr>
        <p:spPr>
          <a:xfrm>
            <a:off x="360000" y="903272"/>
            <a:ext cx="7800001" cy="360000"/>
          </a:xfrm>
        </p:spPr>
        <p:txBody>
          <a:bodyPr rtlCol="0">
            <a:noAutofit/>
          </a:bodyPr>
          <a:lstStyle>
            <a:lvl1pPr marL="0" indent="0">
              <a:buFont typeface="Arial" pitchFamily="34" charset="0"/>
              <a:buNone/>
              <a:defRPr lang="en-US" sz="1600" b="0" i="1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12" name="Title 8"/>
          <p:cNvSpPr>
            <a:spLocks noGrp="1"/>
          </p:cNvSpPr>
          <p:nvPr>
            <p:ph type="title"/>
          </p:nvPr>
        </p:nvSpPr>
        <p:spPr>
          <a:xfrm>
            <a:off x="360000" y="453788"/>
            <a:ext cx="7800000" cy="43601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2838" y="6596063"/>
            <a:ext cx="812800" cy="261937"/>
          </a:xfrm>
        </p:spPr>
        <p:txBody>
          <a:bodyPr wrap="square"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29F0B13B-940F-4A5E-A670-5D27AF500CA8}" type="slidenum">
              <a:rPr/>
              <a:pPr>
                <a:defRPr/>
              </a:pPr>
              <a:t>‹#›</a:t>
            </a:fld>
            <a:endParaRPr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lang="nl-NL" sz="11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3926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5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091541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6699200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2676581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Key Message Slide">
    <p:bg bwMode="gray"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type="body" idx="11"/>
          </p:nvPr>
        </p:nvSpPr>
        <p:spPr>
          <a:xfrm>
            <a:off x="360000" y="719997"/>
            <a:ext cx="7164000" cy="5331600"/>
          </a:xfrm>
          <a:blipFill>
            <a:blip r:embed="rId7"/>
            <a:stretch>
              <a:fillRect/>
            </a:stretch>
          </a:blipFill>
        </p:spPr>
        <p:txBody>
          <a:bodyPr lIns="216000" tIns="216000" rIns="216000" bIns="216000" rtlCol="0">
            <a:noAutofit/>
          </a:bodyPr>
          <a:lstStyle>
            <a:lvl1pPr marL="266700" indent="-266700">
              <a:buFont typeface="Arial" pitchFamily="34" charset="0"/>
              <a:buChar char="•"/>
              <a:defRPr lang="en-US" sz="2000" b="0" i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455165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600825"/>
            <a:ext cx="99028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60363" y="454025"/>
            <a:ext cx="7799387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l-PL" smtClean="0"/>
              <a:t>Click to edit Master title style</a:t>
            </a:r>
          </a:p>
        </p:txBody>
      </p:sp>
      <p:sp>
        <p:nvSpPr>
          <p:cNvPr id="1028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360363" y="1547813"/>
            <a:ext cx="9182100" cy="47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l-PL" smtClean="0"/>
              <a:t>Click to edit Master text styles</a:t>
            </a:r>
          </a:p>
          <a:p>
            <a:pPr lvl="1"/>
            <a:r>
              <a:rPr lang="en-US" altLang="pl-PL" smtClean="0"/>
              <a:t>Second level</a:t>
            </a:r>
          </a:p>
          <a:p>
            <a:pPr lvl="2"/>
            <a:r>
              <a:rPr lang="en-US" altLang="pl-PL" smtClean="0"/>
              <a:t>Third level</a:t>
            </a:r>
          </a:p>
          <a:p>
            <a:pPr lvl="3"/>
            <a:r>
              <a:rPr lang="en-US" altLang="pl-PL" smtClean="0"/>
              <a:t>Fourth level</a:t>
            </a:r>
          </a:p>
          <a:p>
            <a:pPr lvl="4"/>
            <a:r>
              <a:rPr lang="en-US" altLang="pl-PL" smtClean="0"/>
              <a:t>Fifth level</a:t>
            </a:r>
            <a:endParaRPr lang="en-GB" altLang="pl-PL" smtClean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60363" y="6596063"/>
            <a:ext cx="7304087" cy="26193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 defTabSz="914284" fontAlgn="auto">
              <a:spcBef>
                <a:spcPts val="0"/>
              </a:spcBef>
              <a:spcAft>
                <a:spcPts val="0"/>
              </a:spcAft>
              <a:defRPr lang="nl-NL"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243763" y="6596063"/>
            <a:ext cx="2311400" cy="261937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CEC6DF2-7626-43DC-B940-AB56BC60D9B8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pic>
        <p:nvPicPr>
          <p:cNvPr id="1031" name="Picture 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538" y="166688"/>
            <a:ext cx="696912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08" r:id="rId1"/>
    <p:sldLayoutId id="2147484409" r:id="rId2"/>
    <p:sldLayoutId id="2147484410" r:id="rId3"/>
    <p:sldLayoutId id="2147484411" r:id="rId4"/>
    <p:sldLayoutId id="2147484412" r:id="rId5"/>
    <p:sldLayoutId id="2147484413" r:id="rId6"/>
    <p:sldLayoutId id="2147484414" r:id="rId7"/>
    <p:sldLayoutId id="2147484415" r:id="rId8"/>
    <p:sldLayoutId id="2147484416" r:id="rId9"/>
    <p:sldLayoutId id="2147484417" r:id="rId10"/>
    <p:sldLayoutId id="2147484418" r:id="rId11"/>
    <p:sldLayoutId id="2147484419" r:id="rId12"/>
    <p:sldLayoutId id="2147484420" r:id="rId13"/>
    <p:sldLayoutId id="2147484421" r:id="rId14"/>
    <p:sldLayoutId id="2147484422" r:id="rId15"/>
    <p:sldLayoutId id="2147484423" r:id="rId16"/>
    <p:sldLayoutId id="2147484424" r:id="rId17"/>
    <p:sldLayoutId id="2147484425" r:id="rId18"/>
    <p:sldLayoutId id="2147484426" r:id="rId19"/>
    <p:sldLayoutId id="2147484427" r:id="rId20"/>
    <p:sldLayoutId id="2147484428" r:id="rId21"/>
    <p:sldLayoutId id="2147484429" r:id="rId22"/>
    <p:sldLayoutId id="2147484430" r:id="rId23"/>
    <p:sldLayoutId id="2147484431" r:id="rId24"/>
    <p:sldLayoutId id="2147484432" r:id="rId25"/>
    <p:sldLayoutId id="2147484433" r:id="rId26"/>
    <p:sldLayoutId id="2147484434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9pPr>
    </p:titleStyle>
    <p:bodyStyle>
      <a:lvl1pPr marL="185738" indent="-185738" algn="l" defTabSz="912813" rtl="0" eaLnBrk="0" fontAlgn="base" hangingPunct="0">
        <a:spcBef>
          <a:spcPts val="1200"/>
        </a:spcBef>
        <a:spcAft>
          <a:spcPts val="300"/>
        </a:spcAft>
        <a:buFont typeface="Arial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355600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503238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647700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–"/>
        <a:defRPr lang="en-US" sz="1400" kern="1200" dirty="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647700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defRPr lang="en-US" sz="1400" kern="1200" dirty="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514282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4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7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8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4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7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9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1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96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8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4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6600825"/>
            <a:ext cx="99028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360363" y="454025"/>
            <a:ext cx="7799387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pl-PL" smtClean="0"/>
              <a:t>Click to edit Master title style</a:t>
            </a:r>
          </a:p>
        </p:txBody>
      </p:sp>
      <p:sp>
        <p:nvSpPr>
          <p:cNvPr id="2052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360363" y="1547813"/>
            <a:ext cx="9182100" cy="47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pl-PL" smtClean="0"/>
              <a:t>Click to edit Master text styles</a:t>
            </a:r>
          </a:p>
          <a:p>
            <a:pPr lvl="1"/>
            <a:r>
              <a:rPr lang="en-US" altLang="pl-PL" smtClean="0"/>
              <a:t>Second level</a:t>
            </a:r>
          </a:p>
          <a:p>
            <a:pPr lvl="2"/>
            <a:r>
              <a:rPr lang="en-US" altLang="pl-PL" smtClean="0"/>
              <a:t>Third level</a:t>
            </a:r>
          </a:p>
          <a:p>
            <a:pPr lvl="3"/>
            <a:r>
              <a:rPr lang="en-US" altLang="pl-PL" smtClean="0"/>
              <a:t>Fourth level</a:t>
            </a:r>
          </a:p>
          <a:p>
            <a:pPr lvl="4"/>
            <a:r>
              <a:rPr lang="en-US" altLang="pl-PL" smtClean="0"/>
              <a:t>Fifth level</a:t>
            </a:r>
            <a:endParaRPr lang="en-GB" altLang="pl-PL" smtClean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60363" y="6596063"/>
            <a:ext cx="7304087" cy="26193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>
            <a:lvl1pPr defTabSz="914284" fontAlgn="auto">
              <a:spcBef>
                <a:spcPts val="0"/>
              </a:spcBef>
              <a:spcAft>
                <a:spcPts val="0"/>
              </a:spcAft>
              <a:defRPr lang="nl-NL"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UPC PowerPoint Example Slides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7243763" y="6596063"/>
            <a:ext cx="2311400" cy="261937"/>
          </a:xfrm>
          <a:prstGeom prst="rect">
            <a:avLst/>
          </a:prstGeom>
        </p:spPr>
        <p:txBody>
          <a:bodyPr vert="horz" lIns="91440" tIns="45720" rIns="0" bIns="45720" rtlCol="0" anchor="ctr">
            <a:spAutoFit/>
          </a:bodyPr>
          <a:lstStyle>
            <a:lvl1pPr algn="r" defTabSz="914284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DDB7D33A-59BB-4AFC-A9E5-6731B3C5C018}" type="slidenum">
              <a:rPr lang="nl-NL"/>
              <a:pPr>
                <a:defRPr/>
              </a:pPr>
              <a:t>‹#›</a:t>
            </a:fld>
            <a:endParaRPr lang="nl-NL"/>
          </a:p>
        </p:txBody>
      </p:sp>
      <p:pic>
        <p:nvPicPr>
          <p:cNvPr id="2055" name="Picture 9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2538" y="166688"/>
            <a:ext cx="696912" cy="69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35" r:id="rId1"/>
    <p:sldLayoutId id="2147484436" r:id="rId2"/>
    <p:sldLayoutId id="2147484437" r:id="rId3"/>
    <p:sldLayoutId id="2147484438" r:id="rId4"/>
    <p:sldLayoutId id="2147484439" r:id="rId5"/>
    <p:sldLayoutId id="2147484440" r:id="rId6"/>
    <p:sldLayoutId id="2147484441" r:id="rId7"/>
    <p:sldLayoutId id="2147484442" r:id="rId8"/>
    <p:sldLayoutId id="2147484443" r:id="rId9"/>
    <p:sldLayoutId id="2147484444" r:id="rId10"/>
    <p:sldLayoutId id="2147484445" r:id="rId11"/>
    <p:sldLayoutId id="2147484446" r:id="rId12"/>
    <p:sldLayoutId id="2147484447" r:id="rId13"/>
    <p:sldLayoutId id="2147484448" r:id="rId14"/>
    <p:sldLayoutId id="2147484449" r:id="rId15"/>
    <p:sldLayoutId id="2147484450" r:id="rId16"/>
    <p:sldLayoutId id="2147484451" r:id="rId17"/>
    <p:sldLayoutId id="2147484452" r:id="rId18"/>
    <p:sldLayoutId id="2147484453" r:id="rId19"/>
    <p:sldLayoutId id="2147484454" r:id="rId20"/>
    <p:sldLayoutId id="2147484455" r:id="rId21"/>
    <p:sldLayoutId id="2147484456" r:id="rId22"/>
    <p:sldLayoutId id="2147484457" r:id="rId23"/>
    <p:sldLayoutId id="2147484458" r:id="rId24"/>
    <p:sldLayoutId id="2147484459" r:id="rId25"/>
    <p:sldLayoutId id="2147484460" r:id="rId26"/>
    <p:sldLayoutId id="2147484461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pitchFamily="34" charset="0"/>
          <a:ea typeface="ヒラギノ角ゴ Pro W3"/>
          <a:cs typeface="ヒラギノ角ゴ Pro W3"/>
        </a:defRPr>
      </a:lvl9pPr>
    </p:titleStyle>
    <p:bodyStyle>
      <a:lvl1pPr marL="185738" indent="-185738" algn="l" defTabSz="912813" rtl="0" eaLnBrk="0" fontAlgn="base" hangingPunct="0">
        <a:spcBef>
          <a:spcPts val="1200"/>
        </a:spcBef>
        <a:spcAft>
          <a:spcPts val="300"/>
        </a:spcAft>
        <a:buFont typeface="Arial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355600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503238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–"/>
        <a:defRPr lang="en-US" sz="1600" kern="1200" dirty="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647700" indent="-176213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buChar char="–"/>
        <a:defRPr lang="en-US" sz="1400" kern="1200" dirty="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647700" algn="l" defTabSz="912813" rtl="0" eaLnBrk="0" fontAlgn="base" hangingPunct="0">
        <a:spcBef>
          <a:spcPts val="300"/>
        </a:spcBef>
        <a:spcAft>
          <a:spcPts val="300"/>
        </a:spcAft>
        <a:buSzPct val="100000"/>
        <a:buFont typeface="Arial" pitchFamily="34" charset="0"/>
        <a:defRPr lang="en-US" sz="1400" kern="1200" dirty="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2514282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24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67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08" indent="-228571" algn="l" defTabSz="9142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4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27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69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1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3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96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38" algn="l" defTabSz="9142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diagramLayout" Target="../diagrams/layout4.xml"/><Relationship Id="rId7" Type="http://schemas.openxmlformats.org/officeDocument/2006/relationships/diagramData" Target="../diagrams/data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4.xml"/><Relationship Id="rId11" Type="http://schemas.microsoft.com/office/2007/relationships/diagramDrawing" Target="../diagrams/drawing5.xml"/><Relationship Id="rId5" Type="http://schemas.openxmlformats.org/officeDocument/2006/relationships/diagramColors" Target="../diagrams/colors4.xml"/><Relationship Id="rId10" Type="http://schemas.openxmlformats.org/officeDocument/2006/relationships/diagramColors" Target="../diagrams/colors5.xml"/><Relationship Id="rId4" Type="http://schemas.openxmlformats.org/officeDocument/2006/relationships/diagramQuickStyle" Target="../diagrams/quickStyle4.xml"/><Relationship Id="rId9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.xml"/><Relationship Id="rId3" Type="http://schemas.openxmlformats.org/officeDocument/2006/relationships/diagramLayout" Target="../diagrams/layout8.xml"/><Relationship Id="rId7" Type="http://schemas.openxmlformats.org/officeDocument/2006/relationships/diagramData" Target="../diagrams/data9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8.xml"/><Relationship Id="rId11" Type="http://schemas.microsoft.com/office/2007/relationships/diagramDrawing" Target="../diagrams/drawing9.xml"/><Relationship Id="rId5" Type="http://schemas.openxmlformats.org/officeDocument/2006/relationships/diagramColors" Target="../diagrams/colors8.xml"/><Relationship Id="rId10" Type="http://schemas.openxmlformats.org/officeDocument/2006/relationships/diagramColors" Target="../diagrams/colors9.xml"/><Relationship Id="rId4" Type="http://schemas.openxmlformats.org/officeDocument/2006/relationships/diagramQuickStyle" Target="../diagrams/quickStyle8.xml"/><Relationship Id="rId9" Type="http://schemas.openxmlformats.org/officeDocument/2006/relationships/diagramQuickStyle" Target="../diagrams/quickStyl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le 3"/>
          <p:cNvSpPr>
            <a:spLocks noGrp="1"/>
          </p:cNvSpPr>
          <p:nvPr>
            <p:ph type="title"/>
          </p:nvPr>
        </p:nvSpPr>
        <p:spPr>
          <a:xfrm>
            <a:off x="361950" y="1583757"/>
            <a:ext cx="9182100" cy="1620389"/>
          </a:xfrm>
          <a:blipFill dpi="0" rotWithShape="1">
            <a:srcRect/>
          </a:blipFill>
        </p:spPr>
        <p:txBody>
          <a:bodyPr/>
          <a:lstStyle/>
          <a:p>
            <a:pPr eaLnBrk="1" hangingPunct="1"/>
            <a:r>
              <a:rPr lang="pl-PL" altLang="pl-PL" sz="4800" dirty="0" smtClean="0">
                <a:cs typeface="ヒラギノ角ゴ Pro W3"/>
              </a:rPr>
              <a:t>Zastosowanie metod statystycznych w obszarze CRM.</a:t>
            </a:r>
            <a:endParaRPr lang="nl-NL" altLang="pl-PL" sz="4800" dirty="0">
              <a:cs typeface="ヒラギノ角ゴ Pro W3"/>
            </a:endParaRPr>
          </a:p>
        </p:txBody>
      </p:sp>
      <p:sp>
        <p:nvSpPr>
          <p:cNvPr id="58371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61950" y="4172688"/>
            <a:ext cx="5192712" cy="1144347"/>
          </a:xfrm>
        </p:spPr>
        <p:txBody>
          <a:bodyPr/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pl-PL" altLang="pl-PL" sz="1800" dirty="0" smtClean="0"/>
              <a:t>Michał Mierzwa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pl-PL" altLang="pl-PL" sz="1800" dirty="0" err="1"/>
              <a:t>UPC</a:t>
            </a:r>
            <a:r>
              <a:rPr lang="pl-PL" altLang="pl-PL" sz="1800" dirty="0"/>
              <a:t> Polska</a:t>
            </a:r>
          </a:p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endParaRPr lang="pl-PL" altLang="pl-PL" sz="1800" dirty="0" smtClean="0"/>
          </a:p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pl-PL" altLang="pl-PL" sz="1800" dirty="0" smtClean="0"/>
              <a:t>18-04-2017</a:t>
            </a:r>
            <a:endParaRPr lang="pl-PL" altLang="pl-PL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ytuł 6"/>
          <p:cNvSpPr>
            <a:spLocks noGrp="1"/>
          </p:cNvSpPr>
          <p:nvPr>
            <p:ph type="title"/>
          </p:nvPr>
        </p:nvSpPr>
        <p:spPr>
          <a:xfrm>
            <a:off x="360002" y="1954973"/>
            <a:ext cx="9145620" cy="805893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pl-PL" dirty="0" smtClean="0">
                <a:solidFill>
                  <a:srgbClr val="455177"/>
                </a:solidFill>
              </a:rPr>
              <a:t>dziękuję za uwagę</a:t>
            </a:r>
            <a:endParaRPr lang="pl-PL" dirty="0">
              <a:solidFill>
                <a:srgbClr val="4551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38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Otoczenie biznesowe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2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 smtClean="0"/>
              <a:t>Zastosowanie metod statystycznych w obszarze CRM.</a:t>
            </a:r>
            <a:endParaRPr lang="en-US" dirty="0"/>
          </a:p>
        </p:txBody>
      </p:sp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000" y="1548000"/>
            <a:ext cx="9183600" cy="4793256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pl-PL" dirty="0" smtClean="0"/>
              <a:t>Czym jest CRM oraz jego miejsce w organizacji</a:t>
            </a:r>
          </a:p>
          <a:p>
            <a:pPr marL="457200" indent="-457200">
              <a:buAutoNum type="arabicPeriod"/>
            </a:pPr>
            <a:r>
              <a:rPr lang="pl-PL" dirty="0" smtClean="0"/>
              <a:t>Skala </a:t>
            </a:r>
            <a:r>
              <a:rPr lang="pl-PL" dirty="0" smtClean="0"/>
              <a:t>operacyjna</a:t>
            </a:r>
            <a:endParaRPr lang="pl-PL" dirty="0" smtClean="0"/>
          </a:p>
          <a:p>
            <a:pPr marL="457200" indent="-457200">
              <a:buFont typeface="Arial" pitchFamily="34" charset="0"/>
              <a:buAutoNum type="arabicPeriod"/>
            </a:pPr>
            <a:r>
              <a:rPr lang="pl-PL" dirty="0"/>
              <a:t>Charakterystyka rynku </a:t>
            </a:r>
            <a:r>
              <a:rPr lang="pl-PL" dirty="0" smtClean="0"/>
              <a:t>telekomunikacyjnego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pl-PL" dirty="0"/>
              <a:t>Narzędzia pozyskiwania, przetwarzania, analizy </a:t>
            </a:r>
            <a:r>
              <a:rPr lang="pl-PL" dirty="0" smtClean="0"/>
              <a:t>danych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pl-PL" dirty="0"/>
              <a:t>Wymagania biznesowe i ograniczenia w kontekście pracy osoby budującej modele </a:t>
            </a:r>
            <a:r>
              <a:rPr lang="pl-PL" dirty="0" smtClean="0"/>
              <a:t>statystyczne</a:t>
            </a:r>
          </a:p>
          <a:p>
            <a:pPr marL="457200" indent="-457200">
              <a:buAutoNum type="arabicPeriod"/>
            </a:pPr>
            <a:r>
              <a:rPr lang="pl-PL" dirty="0" smtClean="0"/>
              <a:t>Pojęcia: model, </a:t>
            </a:r>
            <a:r>
              <a:rPr lang="pl-PL" dirty="0" err="1" smtClean="0"/>
              <a:t>scoring</a:t>
            </a:r>
            <a:r>
              <a:rPr lang="pl-PL" dirty="0" smtClean="0"/>
              <a:t>, data miner, data </a:t>
            </a:r>
            <a:r>
              <a:rPr lang="pl-PL" dirty="0" err="1" smtClean="0"/>
              <a:t>scientist</a:t>
            </a:r>
            <a:r>
              <a:rPr lang="pl-PL" dirty="0" smtClean="0"/>
              <a:t>, </a:t>
            </a:r>
            <a:r>
              <a:rPr lang="pl-PL" dirty="0" err="1" smtClean="0"/>
              <a:t>citizen</a:t>
            </a:r>
            <a:r>
              <a:rPr lang="pl-PL" dirty="0" smtClean="0"/>
              <a:t> data </a:t>
            </a:r>
            <a:r>
              <a:rPr lang="pl-PL" dirty="0" err="1" smtClean="0"/>
              <a:t>scientist</a:t>
            </a: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Statystyka czy plastyka?</a:t>
            </a:r>
          </a:p>
        </p:txBody>
      </p:sp>
    </p:spTree>
    <p:extLst>
      <p:ext uri="{BB962C8B-B14F-4D97-AF65-F5344CB8AC3E}">
        <p14:creationId xmlns:p14="http://schemas.microsoft.com/office/powerpoint/2010/main" val="3021308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8" name="Slide Number Placeholder 3"/>
          <p:cNvSpPr>
            <a:spLocks noGrp="1"/>
          </p:cNvSpPr>
          <p:nvPr>
            <p:ph type="sldNum" sz="quarter" idx="1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ヒラギノ角ゴ Pro W3"/>
                <a:cs typeface="ヒラギノ角ゴ Pro W3"/>
              </a:defRPr>
            </a:lvl9pPr>
          </a:lstStyle>
          <a:p>
            <a:pPr defTabSz="912813" eaLnBrk="1" fontAlgn="base" hangingPunct="1">
              <a:spcBef>
                <a:spcPct val="0"/>
              </a:spcBef>
              <a:spcAft>
                <a:spcPct val="0"/>
              </a:spcAft>
            </a:pPr>
            <a:fld id="{3C0988DF-1259-4429-8EB7-025F4CDFF8E9}" type="slidenum">
              <a:rPr altLang="pl-PL" smtClean="0"/>
              <a:pPr defTabSz="912813"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altLang="pl-PL" smtClean="0"/>
          </a:p>
        </p:txBody>
      </p:sp>
      <p:sp>
        <p:nvSpPr>
          <p:cNvPr id="3" name="Tytuł 2"/>
          <p:cNvSpPr>
            <a:spLocks noGrp="1"/>
          </p:cNvSpPr>
          <p:nvPr>
            <p:ph type="title"/>
          </p:nvPr>
        </p:nvSpPr>
        <p:spPr>
          <a:xfrm>
            <a:off x="360363" y="28814"/>
            <a:ext cx="7799387" cy="861774"/>
          </a:xfrm>
        </p:spPr>
        <p:txBody>
          <a:bodyPr/>
          <a:lstStyle/>
          <a:p>
            <a:r>
              <a:rPr lang="pl-PL" dirty="0" smtClean="0"/>
              <a:t>Wykorzystanie metod statystycznych w działaniach operacyjnych i strategicznych:</a:t>
            </a:r>
            <a:endParaRPr lang="pl-PL" dirty="0"/>
          </a:p>
        </p:txBody>
      </p:sp>
      <p:sp>
        <p:nvSpPr>
          <p:cNvPr id="5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025693"/>
            <a:ext cx="9183600" cy="5570370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pl-PL" sz="1600" dirty="0" smtClean="0"/>
              <a:t>Typowanie klientów skłonnych do wykonania pożądanych działań – zakupu, podłączenia, poprawy parametrów usług, zwiększenia płatności.</a:t>
            </a:r>
          </a:p>
          <a:p>
            <a:pPr marL="457200" indent="-457200">
              <a:buAutoNum type="arabicPeriod"/>
            </a:pPr>
            <a:r>
              <a:rPr lang="pl-PL" sz="1600" dirty="0" smtClean="0"/>
              <a:t>Typowanie klientów skłonnych do odłączenia/złożenia rezygnacji oraz organizacja działań przeciwdziałającym utracie klientów.</a:t>
            </a:r>
          </a:p>
          <a:p>
            <a:pPr marL="457200" indent="-457200">
              <a:buAutoNum type="arabicPeriod"/>
            </a:pPr>
            <a:r>
              <a:rPr lang="pl-PL" sz="1600" dirty="0" smtClean="0"/>
              <a:t>Optymalizacja alokacji klientów między kampaniami w ramach comiesięcznego planu kontaktowania klientów.</a:t>
            </a:r>
          </a:p>
          <a:p>
            <a:pPr marL="457200" indent="-457200">
              <a:buAutoNum type="arabicPeriod"/>
            </a:pPr>
            <a:r>
              <a:rPr lang="pl-PL" sz="1600" dirty="0" smtClean="0"/>
              <a:t> Tworzenie niestandardowych dedykowanych modeli służących do oceny: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Wskaźnika NPS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Jakości danych o występowaniu konkurencji (w oparciu o niezależne źródła danych)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Atrakcyjności potencjalnych lokalizacji do rozbudowy </a:t>
            </a:r>
            <a:r>
              <a:rPr lang="pl-PL" sz="1400" dirty="0" smtClean="0"/>
              <a:t>sieci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Model windykacyjny</a:t>
            </a:r>
            <a:endParaRPr lang="pl-PL" sz="1400" dirty="0" smtClean="0"/>
          </a:p>
          <a:p>
            <a:pPr marL="457200" indent="-457200">
              <a:buFont typeface="+mj-lt"/>
              <a:buAutoNum type="arabicPeriod"/>
            </a:pPr>
            <a:r>
              <a:rPr lang="pl-PL" sz="1600" dirty="0" smtClean="0"/>
              <a:t>Prognozowanie wskaźników budżetowych</a:t>
            </a:r>
          </a:p>
          <a:p>
            <a:pPr marL="457200" indent="-457200">
              <a:buFont typeface="+mj-lt"/>
              <a:buAutoNum type="arabicPeriod"/>
            </a:pPr>
            <a:r>
              <a:rPr lang="pl-PL" sz="1600" dirty="0" smtClean="0"/>
              <a:t>Zakres wykorzystania pozostałych metod </a:t>
            </a:r>
            <a:r>
              <a:rPr lang="pl-PL" sz="1600" dirty="0" smtClean="0"/>
              <a:t>statystycznych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Analiza asocjacji, model </a:t>
            </a:r>
            <a:r>
              <a:rPr lang="pl-PL" sz="1400" dirty="0" err="1" smtClean="0"/>
              <a:t>coxa</a:t>
            </a:r>
            <a:endParaRPr lang="pl-PL" sz="1400" dirty="0"/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err="1" smtClean="0"/>
              <a:t>Offer</a:t>
            </a:r>
            <a:r>
              <a:rPr lang="pl-PL" sz="1400" dirty="0" smtClean="0"/>
              <a:t> </a:t>
            </a:r>
            <a:r>
              <a:rPr lang="pl-PL" sz="1400" dirty="0" err="1" smtClean="0"/>
              <a:t>Selection</a:t>
            </a:r>
            <a:r>
              <a:rPr lang="pl-PL" sz="1400" dirty="0" smtClean="0"/>
              <a:t> </a:t>
            </a:r>
            <a:r>
              <a:rPr lang="pl-PL" sz="1400" dirty="0" err="1" smtClean="0"/>
              <a:t>Tool</a:t>
            </a:r>
            <a:r>
              <a:rPr lang="pl-PL" sz="1400" dirty="0" smtClean="0"/>
              <a:t> i </a:t>
            </a:r>
            <a:r>
              <a:rPr lang="pl-PL" sz="1400" dirty="0" err="1" smtClean="0"/>
              <a:t>Next</a:t>
            </a:r>
            <a:r>
              <a:rPr lang="pl-PL" sz="1400" dirty="0" smtClean="0"/>
              <a:t> Best </a:t>
            </a:r>
            <a:r>
              <a:rPr lang="pl-PL" sz="1400" dirty="0" err="1" smtClean="0"/>
              <a:t>Offer</a:t>
            </a:r>
            <a:endParaRPr lang="pl-PL" sz="1400" dirty="0" smtClean="0"/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Tworzenie profili klientów na potrzeby punktów obsługi klienta</a:t>
            </a:r>
          </a:p>
          <a:p>
            <a:pPr marL="627062" lvl="1" indent="-457200">
              <a:buFont typeface="+mj-lt"/>
              <a:buAutoNum type="alphaLcPeriod"/>
            </a:pPr>
            <a:r>
              <a:rPr lang="pl-PL" sz="1400" dirty="0" smtClean="0"/>
              <a:t>Segmentacja bazy klientów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>
          <a:xfrm>
            <a:off x="360363" y="6596063"/>
            <a:ext cx="7304087" cy="261937"/>
          </a:xfrm>
        </p:spPr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361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 życia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4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667560064"/>
              </p:ext>
            </p:extLst>
          </p:nvPr>
        </p:nvGraphicFramePr>
        <p:xfrm>
          <a:off x="360362" y="964282"/>
          <a:ext cx="9185275" cy="54142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8053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 życia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5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4292739068"/>
              </p:ext>
            </p:extLst>
          </p:nvPr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933775"/>
            <a:ext cx="9183600" cy="4793256"/>
          </a:xfrm>
        </p:spPr>
        <p:txBody>
          <a:bodyPr/>
          <a:lstStyle/>
          <a:p>
            <a:pPr marL="457200" indent="-457200">
              <a:buAutoNum type="arabicPeriod"/>
            </a:pP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Prawidłowe zrozumienie potrzeb biznesowych warunkiem </a:t>
            </a:r>
            <a:r>
              <a:rPr lang="pl-PL" dirty="0" smtClean="0"/>
              <a:t>powodzenia zadania</a:t>
            </a: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Prym wymagań biznesowych nad rozwiązaniami analitycznymi</a:t>
            </a:r>
          </a:p>
          <a:p>
            <a:pPr marL="457200" indent="-457200">
              <a:buAutoNum type="arabicPeriod"/>
            </a:pPr>
            <a:r>
              <a:rPr lang="pl-PL" dirty="0" smtClean="0"/>
              <a:t>Wybór najlepszej metody statystycznego rozwiązania problemu</a:t>
            </a:r>
          </a:p>
          <a:p>
            <a:pPr marL="457200" indent="-457200">
              <a:buAutoNum type="arabi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08865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 życia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6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566627020"/>
              </p:ext>
            </p:extLst>
          </p:nvPr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933775"/>
            <a:ext cx="9183600" cy="4793256"/>
          </a:xfrm>
        </p:spPr>
        <p:txBody>
          <a:bodyPr/>
          <a:lstStyle/>
          <a:p>
            <a:pPr marL="0" indent="0">
              <a:buNone/>
            </a:pP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Konstrukcja, selekcja zmiennych oraz nadanie im znaczenia biznesowego</a:t>
            </a:r>
          </a:p>
          <a:p>
            <a:pPr marL="457200" indent="-457200">
              <a:buAutoNum type="arabicPeriod"/>
            </a:pPr>
            <a:r>
              <a:rPr lang="pl-PL" dirty="0" err="1" smtClean="0"/>
              <a:t>Trash</a:t>
            </a:r>
            <a:r>
              <a:rPr lang="pl-PL" dirty="0" smtClean="0"/>
              <a:t> in </a:t>
            </a:r>
            <a:r>
              <a:rPr lang="pl-PL" dirty="0" err="1" smtClean="0"/>
              <a:t>trash</a:t>
            </a:r>
            <a:r>
              <a:rPr lang="pl-PL" dirty="0" smtClean="0"/>
              <a:t> out; </a:t>
            </a:r>
            <a:r>
              <a:rPr lang="pl-PL" dirty="0" err="1" smtClean="0"/>
              <a:t>black</a:t>
            </a:r>
            <a:r>
              <a:rPr lang="pl-PL" dirty="0" smtClean="0"/>
              <a:t> </a:t>
            </a:r>
            <a:r>
              <a:rPr lang="pl-PL" dirty="0" err="1" smtClean="0"/>
              <a:t>box</a:t>
            </a:r>
            <a:r>
              <a:rPr lang="pl-PL" dirty="0" smtClean="0"/>
              <a:t> – </a:t>
            </a:r>
            <a:r>
              <a:rPr lang="pl-PL" dirty="0" err="1" smtClean="0"/>
              <a:t>white</a:t>
            </a:r>
            <a:r>
              <a:rPr lang="pl-PL" dirty="0" smtClean="0"/>
              <a:t> </a:t>
            </a:r>
            <a:r>
              <a:rPr lang="pl-PL" dirty="0" err="1" smtClean="0"/>
              <a:t>box</a:t>
            </a:r>
            <a:r>
              <a:rPr lang="pl-PL" dirty="0" smtClean="0"/>
              <a:t>;</a:t>
            </a:r>
          </a:p>
          <a:p>
            <a:pPr marL="457200" indent="-457200">
              <a:buAutoNum type="arabicPeriod"/>
            </a:pPr>
            <a:r>
              <a:rPr lang="pl-PL" dirty="0" smtClean="0"/>
              <a:t>Wpływ etapu przygotowania zmiennych na finalny rezultat</a:t>
            </a:r>
          </a:p>
          <a:p>
            <a:pPr marL="457200" indent="-457200">
              <a:buAutoNum type="arabicPeriod"/>
            </a:pPr>
            <a:endParaRPr lang="pl-PL" dirty="0" smtClean="0"/>
          </a:p>
          <a:p>
            <a:pPr marL="457200" indent="-457200">
              <a:buAutoNum type="arabi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38757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 życia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7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/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933775"/>
            <a:ext cx="9183600" cy="4793256"/>
          </a:xfrm>
        </p:spPr>
        <p:txBody>
          <a:bodyPr/>
          <a:lstStyle/>
          <a:p>
            <a:pPr marL="457200" indent="-457200">
              <a:buAutoNum type="arabicPeriod"/>
            </a:pP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Przygotowanie zbioru uczącego, zbioru testowego, zbioru walidacyjnego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pl-PL" dirty="0"/>
              <a:t>Wykorzystanie metody klasyfikacji </a:t>
            </a:r>
            <a:r>
              <a:rPr lang="pl-PL" dirty="0" smtClean="0"/>
              <a:t>CHAID</a:t>
            </a:r>
          </a:p>
          <a:p>
            <a:pPr marL="457200" indent="-457200">
              <a:buAutoNum type="arabicPeriod"/>
            </a:pPr>
            <a:r>
              <a:rPr lang="pl-PL" dirty="0" smtClean="0"/>
              <a:t>Ocena jakości modelu poprzez maksymalizację korzyści z klasyfikacji przy dopuszczalnym kształcie krzywej wykresu ewaluacyjnego</a:t>
            </a:r>
          </a:p>
          <a:p>
            <a:pPr marL="0" indent="0">
              <a:buNone/>
            </a:pPr>
            <a:endParaRPr lang="pl-PL" dirty="0"/>
          </a:p>
          <a:p>
            <a:pPr marL="0" indent="0">
              <a:buNone/>
            </a:pPr>
            <a:endParaRPr lang="pl-PL" dirty="0" smtClean="0"/>
          </a:p>
          <a:p>
            <a:pPr marL="0" indent="0">
              <a:buNone/>
            </a:pPr>
            <a:r>
              <a:rPr lang="pl-PL" sz="2400" b="1" dirty="0" smtClean="0">
                <a:solidFill>
                  <a:schemeClr val="accent1">
                    <a:lumMod val="75000"/>
                  </a:schemeClr>
                </a:solidFill>
              </a:rPr>
              <a:t>Prezentacja narzędzia IBM Modeler</a:t>
            </a:r>
          </a:p>
          <a:p>
            <a:pPr marL="457200" indent="-457200">
              <a:buAutoNum type="arabi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 smtClean="0"/>
          </a:p>
          <a:p>
            <a:pPr marL="627062" lvl="1" indent="-457200">
              <a:buAutoNum type="alphaLcPeriod"/>
            </a:pPr>
            <a:endParaRPr lang="pl-PL" dirty="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026864993"/>
              </p:ext>
            </p:extLst>
          </p:nvPr>
        </p:nvGraphicFramePr>
        <p:xfrm>
          <a:off x="358688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89859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 życia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8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/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802807"/>
            <a:ext cx="9183600" cy="4793256"/>
          </a:xfrm>
        </p:spPr>
        <p:txBody>
          <a:bodyPr/>
          <a:lstStyle/>
          <a:p>
            <a:pPr marL="457200" indent="-457200">
              <a:buAutoNum type="arabicPeriod"/>
            </a:pP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Przygotowanie próbek kontrolnych</a:t>
            </a:r>
          </a:p>
          <a:p>
            <a:pPr marL="457200" indent="-457200">
              <a:buAutoNum type="arabicPeriod"/>
            </a:pPr>
            <a:r>
              <a:rPr lang="pl-PL" dirty="0" smtClean="0"/>
              <a:t>Akceptacja zanieczyszczeń</a:t>
            </a: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3831906211"/>
              </p:ext>
            </p:extLst>
          </p:nvPr>
        </p:nvGraphicFramePr>
        <p:xfrm>
          <a:off x="358688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81046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Wzorcowy proces budowy modelu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A51C2FB-0C3D-4299-A174-EC79C68B3530}" type="slidenum">
              <a:rPr lang="pl-PL" smtClean="0"/>
              <a:pPr>
                <a:defRPr/>
              </a:pPr>
              <a:t>9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pl-PL" dirty="0"/>
              <a:t>Zastosowanie metod statystycznych w obszarze CRM.</a:t>
            </a:r>
            <a:endParaRPr lang="en-US" dirty="0"/>
          </a:p>
        </p:txBody>
      </p:sp>
      <p:graphicFrame>
        <p:nvGraphicFramePr>
          <p:cNvPr id="9" name="Diagram 8"/>
          <p:cNvGraphicFramePr/>
          <p:nvPr/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Symbol zastępczy zawartości 4"/>
          <p:cNvSpPr>
            <a:spLocks noGrp="1"/>
          </p:cNvSpPr>
          <p:nvPr>
            <p:ph idx="1"/>
          </p:nvPr>
        </p:nvSpPr>
        <p:spPr>
          <a:xfrm>
            <a:off x="360363" y="1933775"/>
            <a:ext cx="9183600" cy="4793256"/>
          </a:xfrm>
        </p:spPr>
        <p:txBody>
          <a:bodyPr/>
          <a:lstStyle/>
          <a:p>
            <a:pPr marL="457200" indent="-457200">
              <a:buAutoNum type="arabicPeriod"/>
            </a:pPr>
            <a:endParaRPr lang="pl-PL" dirty="0" smtClean="0"/>
          </a:p>
          <a:p>
            <a:pPr marL="457200" indent="-457200">
              <a:buAutoNum type="arabicPeriod"/>
            </a:pPr>
            <a:r>
              <a:rPr lang="pl-PL" dirty="0" smtClean="0"/>
              <a:t>Wrażliwość modeli na nieprzewidziane zachowania.</a:t>
            </a:r>
          </a:p>
          <a:p>
            <a:pPr marL="457200" indent="-457200">
              <a:buAutoNum type="arabicPeriod"/>
            </a:pPr>
            <a:r>
              <a:rPr lang="pl-PL" dirty="0" smtClean="0"/>
              <a:t>Analiza wyników akcji</a:t>
            </a:r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472922069"/>
              </p:ext>
            </p:extLst>
          </p:nvPr>
        </p:nvGraphicFramePr>
        <p:xfrm>
          <a:off x="360363" y="1171675"/>
          <a:ext cx="9185275" cy="4810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5731098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pc_A4">
  <a:themeElements>
    <a:clrScheme name="Custom 15">
      <a:dk1>
        <a:srgbClr val="000000"/>
      </a:dk1>
      <a:lt1>
        <a:srgbClr val="FFFFFF"/>
      </a:lt1>
      <a:dk2>
        <a:srgbClr val="6F6B6C"/>
      </a:dk2>
      <a:lt2>
        <a:srgbClr val="46CDEB"/>
      </a:lt2>
      <a:accent1>
        <a:srgbClr val="2D4196"/>
      </a:accent1>
      <a:accent2>
        <a:srgbClr val="782D9B"/>
      </a:accent2>
      <a:accent3>
        <a:srgbClr val="C30A28"/>
      </a:accent3>
      <a:accent4>
        <a:srgbClr val="1E9B41"/>
      </a:accent4>
      <a:accent5>
        <a:srgbClr val="A5D22D"/>
      </a:accent5>
      <a:accent6>
        <a:srgbClr val="46CDEB"/>
      </a:accent6>
      <a:hlink>
        <a:srgbClr val="CD1719"/>
      </a:hlink>
      <a:folHlink>
        <a:srgbClr val="782D9B"/>
      </a:folHlink>
    </a:clrScheme>
    <a:fontScheme name="Custom 1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Upc_A4">
  <a:themeElements>
    <a:clrScheme name="Custom 15">
      <a:dk1>
        <a:srgbClr val="000000"/>
      </a:dk1>
      <a:lt1>
        <a:srgbClr val="FFFFFF"/>
      </a:lt1>
      <a:dk2>
        <a:srgbClr val="6F6B6C"/>
      </a:dk2>
      <a:lt2>
        <a:srgbClr val="46CDEB"/>
      </a:lt2>
      <a:accent1>
        <a:srgbClr val="2D4196"/>
      </a:accent1>
      <a:accent2>
        <a:srgbClr val="782D9B"/>
      </a:accent2>
      <a:accent3>
        <a:srgbClr val="C30A28"/>
      </a:accent3>
      <a:accent4>
        <a:srgbClr val="1E9B41"/>
      </a:accent4>
      <a:accent5>
        <a:srgbClr val="A5D22D"/>
      </a:accent5>
      <a:accent6>
        <a:srgbClr val="46CDEB"/>
      </a:accent6>
      <a:hlink>
        <a:srgbClr val="CD1719"/>
      </a:hlink>
      <a:folHlink>
        <a:srgbClr val="782D9B"/>
      </a:folHlink>
    </a:clrScheme>
    <a:fontScheme name="Custom 1">
      <a:majorFont>
        <a:latin typeface="Arial"/>
        <a:ea typeface="ヒラギノ角ゴ Pro W3"/>
        <a:cs typeface=""/>
      </a:majorFont>
      <a:minorFont>
        <a:latin typeface="Arial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tIns="90000" bIns="90000" rtlCol="0" anchor="ctr"/>
      <a:lstStyle>
        <a:defPPr algn="ctr"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mocja xmlns="f5165b12-a29d-44dc-afe0-d06831e5eeae">false</Promocja>
    <PublishingExpirationDate xmlns="http://schemas.microsoft.com/sharepoint/v3" xsi:nil="true"/>
    <Usluga xmlns="f5165b12-a29d-44dc-afe0-d06831e5eea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E257A511365B54684E9427D2EA534AD" ma:contentTypeVersion="5" ma:contentTypeDescription="Utwórz nowy dokument." ma:contentTypeScope="" ma:versionID="2083ee954fefcb46b65a0580fba74745">
  <xsd:schema xmlns:xsd="http://www.w3.org/2001/XMLSchema" xmlns:xs="http://www.w3.org/2001/XMLSchema" xmlns:p="http://schemas.microsoft.com/office/2006/metadata/properties" xmlns:ns1="http://schemas.microsoft.com/sharepoint/v3" xmlns:ns2="f5165b12-a29d-44dc-afe0-d06831e5eeae" targetNamespace="http://schemas.microsoft.com/office/2006/metadata/properties" ma:root="true" ma:fieldsID="81b4cfcd845d9ece90da325537732e37" ns1:_="" ns2:_="">
    <xsd:import namespace="http://schemas.microsoft.com/sharepoint/v3"/>
    <xsd:import namespace="f5165b12-a29d-44dc-afe0-d06831e5ee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Usluga" minOccurs="0"/>
                <xsd:element ref="ns2:Promocj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Planowana data rozpoczęcia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Planowana data zakończenia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165b12-a29d-44dc-afe0-d06831e5eeae" elementFormDefault="qualified">
    <xsd:import namespace="http://schemas.microsoft.com/office/2006/documentManagement/types"/>
    <xsd:import namespace="http://schemas.microsoft.com/office/infopath/2007/PartnerControls"/>
    <xsd:element name="Usluga" ma:index="10" nillable="true" ma:displayName="Usługa" ma:description="Usługa" ma:internalName="Usluga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Telewizja"/>
                    <xsd:enumeration value="Internet"/>
                    <xsd:enumeration value="Telefon"/>
                    <xsd:enumeration value="Biznes"/>
                    <xsd:enumeration value="Internet mobilny"/>
                    <xsd:enumeration value="Telefon komórkowy"/>
                  </xsd:restriction>
                </xsd:simpleType>
              </xsd:element>
            </xsd:sequence>
          </xsd:extension>
        </xsd:complexContent>
      </xsd:complexType>
    </xsd:element>
    <xsd:element name="Promocja" ma:index="11" nillable="true" ma:displayName="Promocja" ma:description="Ta informacja dotyczy promocji." ma:internalName="Promocja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 ma:index="12" ma:displayName="Komentarze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6569BF89-D582-43A4-9B99-95A75454CF6C}">
  <ds:schemaRefs>
    <ds:schemaRef ds:uri="http://www.w3.org/XML/1998/namespace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f5165b12-a29d-44dc-afe0-d06831e5eeae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BF9FF95-6A6E-4BBA-B3FE-EBFD26ABA76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5165b12-a29d-44dc-afe0-d06831e5ee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AFD095-AEE9-4773-B349-8E30E28941F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7990BD8-C88A-4438-8DD4-0BDAD589C847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pc_3.0_A4_2</Template>
  <TotalTime>10838</TotalTime>
  <Words>492</Words>
  <Application>Microsoft Office PowerPoint</Application>
  <PresentationFormat>Papier A4 (210x297 mm)</PresentationFormat>
  <Paragraphs>121</Paragraphs>
  <Slides>10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0</vt:i4>
      </vt:variant>
    </vt:vector>
  </HeadingPairs>
  <TitlesOfParts>
    <vt:vector size="15" baseType="lpstr">
      <vt:lpstr>Arial</vt:lpstr>
      <vt:lpstr>ヒラギノ角ゴ Pro W3</vt:lpstr>
      <vt:lpstr>Upc_A4</vt:lpstr>
      <vt:lpstr>1_Upc_A4</vt:lpstr>
      <vt:lpstr>think-cell Slide</vt:lpstr>
      <vt:lpstr>Zastosowanie metod statystycznych w obszarze CRM.</vt:lpstr>
      <vt:lpstr>Otoczenie biznesowe</vt:lpstr>
      <vt:lpstr>Wykorzystanie metod statystycznych w działaniach operacyjnych i strategicznych:</vt:lpstr>
      <vt:lpstr>Cykl życia modelu</vt:lpstr>
      <vt:lpstr>Cykl życia modelu</vt:lpstr>
      <vt:lpstr>Cykl życia modelu</vt:lpstr>
      <vt:lpstr>Cykl życia modelu</vt:lpstr>
      <vt:lpstr>Cykl życia modelu</vt:lpstr>
      <vt:lpstr>Wzorcowy proces budowy modelu</vt:lpstr>
      <vt:lpstr>dziękuję za uwagę</vt:lpstr>
    </vt:vector>
  </TitlesOfParts>
  <Company>UPC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yes, Victoria</dc:creator>
  <cp:lastModifiedBy>Mierzwa Michal</cp:lastModifiedBy>
  <cp:revision>229</cp:revision>
  <cp:lastPrinted>2013-02-21T08:43:22Z</cp:lastPrinted>
  <dcterms:created xsi:type="dcterms:W3CDTF">2013-03-27T11:59:14Z</dcterms:created>
  <dcterms:modified xsi:type="dcterms:W3CDTF">2017-04-20T06:41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C297875E791E64B8A9D3FB702F9E498</vt:lpwstr>
  </property>
  <property fmtid="{D5CDD505-2E9C-101B-9397-08002B2CF9AE}" pid="3" name="ContentType">
    <vt:lpwstr>Dokument</vt:lpwstr>
  </property>
</Properties>
</file>